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2" r:id="rId5"/>
  </p:sldMasterIdLst>
  <p:notesMasterIdLst>
    <p:notesMasterId r:id="rId8"/>
  </p:notesMasterIdLst>
  <p:sldIdLst>
    <p:sldId id="285" r:id="rId6"/>
    <p:sldId id="287" r:id="rId7"/>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A6A7AB"/>
    <a:srgbClr val="0A306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2D4338E-6282-49E5-05AC-1EFAF46847D8}" v="25" dt="2025-04-02T17:57:05.193"/>
    <p1510:client id="{1358D971-124D-415B-A4BC-D8766538EF50}" v="393" dt="2025-04-02T15:20:54.453"/>
    <p1510:client id="{61F7BB9C-250B-202F-CD3C-3BF2DF0B9898}" v="2" dt="2025-04-02T15:40:13.895"/>
  </p1510:revLst>
</p1510:revInfo>
</file>

<file path=ppt/tableStyles.xml><?xml version="1.0" encoding="utf-8"?>
<a:tblStyleLst xmlns:a="http://schemas.openxmlformats.org/drawingml/2006/main" def="{5C22544A-7EE6-4342-B048-85BDC9FD1C3A}">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840"/>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theme" Target="theme/theme1.xml"/><Relationship Id="rId5" Type="http://schemas.openxmlformats.org/officeDocument/2006/relationships/slideMaster" Target="slideMasters/slideMaster2.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 Id="rId14"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iselle Mahoney" userId="7eee2dbd-9e84-4860-9460-f38fa898de51" providerId="ADAL" clId="{1358D971-124D-415B-A4BC-D8766538EF50}"/>
    <pc:docChg chg="undo custSel addSld delSld modSld sldOrd modMainMaster">
      <pc:chgData name="Giselle Mahoney" userId="7eee2dbd-9e84-4860-9460-f38fa898de51" providerId="ADAL" clId="{1358D971-124D-415B-A4BC-D8766538EF50}" dt="2025-04-02T15:20:54.453" v="393" actId="1036"/>
      <pc:docMkLst>
        <pc:docMk/>
      </pc:docMkLst>
      <pc:sldChg chg="modSp mod modShow">
        <pc:chgData name="Giselle Mahoney" userId="7eee2dbd-9e84-4860-9460-f38fa898de51" providerId="ADAL" clId="{1358D971-124D-415B-A4BC-D8766538EF50}" dt="2025-04-02T15:11:56.894" v="211" actId="729"/>
        <pc:sldMkLst>
          <pc:docMk/>
          <pc:sldMk cId="419318199" sldId="256"/>
        </pc:sldMkLst>
        <pc:spChg chg="mod">
          <ac:chgData name="Giselle Mahoney" userId="7eee2dbd-9e84-4860-9460-f38fa898de51" providerId="ADAL" clId="{1358D971-124D-415B-A4BC-D8766538EF50}" dt="2025-04-02T14:50:53.253" v="0" actId="1076"/>
          <ac:spMkLst>
            <pc:docMk/>
            <pc:sldMk cId="419318199" sldId="256"/>
            <ac:spMk id="3" creationId="{3FE017FB-AC91-9FD1-A13C-B79233DF35EF}"/>
          </ac:spMkLst>
        </pc:spChg>
      </pc:sldChg>
      <pc:sldChg chg="addSp delSp modSp del mod modClrScheme chgLayout">
        <pc:chgData name="Giselle Mahoney" userId="7eee2dbd-9e84-4860-9460-f38fa898de51" providerId="ADAL" clId="{1358D971-124D-415B-A4BC-D8766538EF50}" dt="2025-04-02T15:16:29.147" v="328" actId="47"/>
        <pc:sldMkLst>
          <pc:docMk/>
          <pc:sldMk cId="1854362378" sldId="257"/>
        </pc:sldMkLst>
        <pc:spChg chg="add del mod ord">
          <ac:chgData name="Giselle Mahoney" userId="7eee2dbd-9e84-4860-9460-f38fa898de51" providerId="ADAL" clId="{1358D971-124D-415B-A4BC-D8766538EF50}" dt="2025-04-02T15:12:19.412" v="214" actId="700"/>
          <ac:spMkLst>
            <pc:docMk/>
            <pc:sldMk cId="1854362378" sldId="257"/>
            <ac:spMk id="2" creationId="{7C480A71-EB19-5E75-45B8-D62E66EC8231}"/>
          </ac:spMkLst>
        </pc:spChg>
        <pc:spChg chg="add del mod ord">
          <ac:chgData name="Giselle Mahoney" userId="7eee2dbd-9e84-4860-9460-f38fa898de51" providerId="ADAL" clId="{1358D971-124D-415B-A4BC-D8766538EF50}" dt="2025-04-02T15:12:19.412" v="214" actId="700"/>
          <ac:spMkLst>
            <pc:docMk/>
            <pc:sldMk cId="1854362378" sldId="257"/>
            <ac:spMk id="3" creationId="{1DF9BE2A-59F8-C4B9-4258-0501E54B7B25}"/>
          </ac:spMkLst>
        </pc:spChg>
      </pc:sldChg>
      <pc:sldChg chg="addSp delSp modSp add del mod">
        <pc:chgData name="Giselle Mahoney" userId="7eee2dbd-9e84-4860-9460-f38fa898de51" providerId="ADAL" clId="{1358D971-124D-415B-A4BC-D8766538EF50}" dt="2025-04-02T15:03:43.038" v="34" actId="47"/>
        <pc:sldMkLst>
          <pc:docMk/>
          <pc:sldMk cId="3308599016" sldId="258"/>
        </pc:sldMkLst>
        <pc:spChg chg="mod">
          <ac:chgData name="Giselle Mahoney" userId="7eee2dbd-9e84-4860-9460-f38fa898de51" providerId="ADAL" clId="{1358D971-124D-415B-A4BC-D8766538EF50}" dt="2025-04-02T14:52:18.906" v="10" actId="2711"/>
          <ac:spMkLst>
            <pc:docMk/>
            <pc:sldMk cId="3308599016" sldId="258"/>
            <ac:spMk id="3" creationId="{C44CB9D4-65D0-EDC3-B726-FBBEE9E8779B}"/>
          </ac:spMkLst>
        </pc:spChg>
        <pc:picChg chg="add mod">
          <ac:chgData name="Giselle Mahoney" userId="7eee2dbd-9e84-4860-9460-f38fa898de51" providerId="ADAL" clId="{1358D971-124D-415B-A4BC-D8766538EF50}" dt="2025-04-02T14:52:03.597" v="8" actId="14100"/>
          <ac:picMkLst>
            <pc:docMk/>
            <pc:sldMk cId="3308599016" sldId="258"/>
            <ac:picMk id="2" creationId="{1399B2F8-E4ED-619B-B091-6C80458F99EE}"/>
          </ac:picMkLst>
        </pc:picChg>
        <pc:picChg chg="del">
          <ac:chgData name="Giselle Mahoney" userId="7eee2dbd-9e84-4860-9460-f38fa898de51" providerId="ADAL" clId="{1358D971-124D-415B-A4BC-D8766538EF50}" dt="2025-04-02T14:51:54.955" v="7" actId="478"/>
          <ac:picMkLst>
            <pc:docMk/>
            <pc:sldMk cId="3308599016" sldId="258"/>
            <ac:picMk id="9" creationId="{6234207F-D9E4-7164-D7A0-562209B02711}"/>
          </ac:picMkLst>
        </pc:picChg>
      </pc:sldChg>
      <pc:sldChg chg="addSp delSp modSp add mod modClrScheme chgLayout">
        <pc:chgData name="Giselle Mahoney" userId="7eee2dbd-9e84-4860-9460-f38fa898de51" providerId="ADAL" clId="{1358D971-124D-415B-A4BC-D8766538EF50}" dt="2025-04-02T15:10:23.662" v="164" actId="403"/>
        <pc:sldMkLst>
          <pc:docMk/>
          <pc:sldMk cId="2168689737" sldId="285"/>
        </pc:sldMkLst>
        <pc:spChg chg="mod ord">
          <ac:chgData name="Giselle Mahoney" userId="7eee2dbd-9e84-4860-9460-f38fa898de51" providerId="ADAL" clId="{1358D971-124D-415B-A4BC-D8766538EF50}" dt="2025-04-02T15:04:53.991" v="108" actId="14100"/>
          <ac:spMkLst>
            <pc:docMk/>
            <pc:sldMk cId="2168689737" sldId="285"/>
            <ac:spMk id="2" creationId="{983C51B1-9796-0FD1-750F-808050B8FD02}"/>
          </ac:spMkLst>
        </pc:spChg>
        <pc:spChg chg="mod ord">
          <ac:chgData name="Giselle Mahoney" userId="7eee2dbd-9e84-4860-9460-f38fa898de51" providerId="ADAL" clId="{1358D971-124D-415B-A4BC-D8766538EF50}" dt="2025-04-02T14:56:08.752" v="13" actId="700"/>
          <ac:spMkLst>
            <pc:docMk/>
            <pc:sldMk cId="2168689737" sldId="285"/>
            <ac:spMk id="5" creationId="{15A9116A-FB73-EB46-D427-3FAC8411B653}"/>
          </ac:spMkLst>
        </pc:spChg>
        <pc:spChg chg="mod">
          <ac:chgData name="Giselle Mahoney" userId="7eee2dbd-9e84-4860-9460-f38fa898de51" providerId="ADAL" clId="{1358D971-124D-415B-A4BC-D8766538EF50}" dt="2025-04-02T15:01:36.312" v="32" actId="207"/>
          <ac:spMkLst>
            <pc:docMk/>
            <pc:sldMk cId="2168689737" sldId="285"/>
            <ac:spMk id="7" creationId="{0AF86627-6CB3-B7E0-A089-E5139A7D2F77}"/>
          </ac:spMkLst>
        </pc:spChg>
        <pc:spChg chg="del">
          <ac:chgData name="Giselle Mahoney" userId="7eee2dbd-9e84-4860-9460-f38fa898de51" providerId="ADAL" clId="{1358D971-124D-415B-A4BC-D8766538EF50}" dt="2025-04-02T15:01:42.345" v="33" actId="478"/>
          <ac:spMkLst>
            <pc:docMk/>
            <pc:sldMk cId="2168689737" sldId="285"/>
            <ac:spMk id="8" creationId="{7A706654-6D1B-EA03-B384-5695E438F37A}"/>
          </ac:spMkLst>
        </pc:spChg>
        <pc:spChg chg="del">
          <ac:chgData name="Giselle Mahoney" userId="7eee2dbd-9e84-4860-9460-f38fa898de51" providerId="ADAL" clId="{1358D971-124D-415B-A4BC-D8766538EF50}" dt="2025-04-02T15:01:42.345" v="33" actId="478"/>
          <ac:spMkLst>
            <pc:docMk/>
            <pc:sldMk cId="2168689737" sldId="285"/>
            <ac:spMk id="9" creationId="{F36FA86B-AE4E-E9D1-ECBA-719856918314}"/>
          </ac:spMkLst>
        </pc:spChg>
        <pc:spChg chg="del">
          <ac:chgData name="Giselle Mahoney" userId="7eee2dbd-9e84-4860-9460-f38fa898de51" providerId="ADAL" clId="{1358D971-124D-415B-A4BC-D8766538EF50}" dt="2025-04-02T15:01:42.345" v="33" actId="478"/>
          <ac:spMkLst>
            <pc:docMk/>
            <pc:sldMk cId="2168689737" sldId="285"/>
            <ac:spMk id="10" creationId="{84421C4A-EFD1-BD8E-1425-304B34CC698A}"/>
          </ac:spMkLst>
        </pc:spChg>
        <pc:spChg chg="del">
          <ac:chgData name="Giselle Mahoney" userId="7eee2dbd-9e84-4860-9460-f38fa898de51" providerId="ADAL" clId="{1358D971-124D-415B-A4BC-D8766538EF50}" dt="2025-04-02T15:01:42.345" v="33" actId="478"/>
          <ac:spMkLst>
            <pc:docMk/>
            <pc:sldMk cId="2168689737" sldId="285"/>
            <ac:spMk id="11" creationId="{68C42C68-5872-5E16-4BE6-B30C0006B54A}"/>
          </ac:spMkLst>
        </pc:spChg>
        <pc:spChg chg="add del mod ord">
          <ac:chgData name="Giselle Mahoney" userId="7eee2dbd-9e84-4860-9460-f38fa898de51" providerId="ADAL" clId="{1358D971-124D-415B-A4BC-D8766538EF50}" dt="2025-04-02T15:04:45.281" v="90" actId="478"/>
          <ac:spMkLst>
            <pc:docMk/>
            <pc:sldMk cId="2168689737" sldId="285"/>
            <ac:spMk id="12" creationId="{3C76EFB7-F1C0-C448-C60E-84F3A8B60206}"/>
          </ac:spMkLst>
        </pc:spChg>
        <pc:spChg chg="add mod">
          <ac:chgData name="Giselle Mahoney" userId="7eee2dbd-9e84-4860-9460-f38fa898de51" providerId="ADAL" clId="{1358D971-124D-415B-A4BC-D8766538EF50}" dt="2025-04-02T15:10:23.662" v="164" actId="403"/>
          <ac:spMkLst>
            <pc:docMk/>
            <pc:sldMk cId="2168689737" sldId="285"/>
            <ac:spMk id="13" creationId="{05308AF1-2B67-9237-EEBF-B014CE74CA3D}"/>
          </ac:spMkLst>
        </pc:spChg>
        <pc:spChg chg="del">
          <ac:chgData name="Giselle Mahoney" userId="7eee2dbd-9e84-4860-9460-f38fa898de51" providerId="ADAL" clId="{1358D971-124D-415B-A4BC-D8766538EF50}" dt="2025-04-02T15:01:42.345" v="33" actId="478"/>
          <ac:spMkLst>
            <pc:docMk/>
            <pc:sldMk cId="2168689737" sldId="285"/>
            <ac:spMk id="16" creationId="{76C6CABC-BCBA-4F23-43F4-5B9D2350E53E}"/>
          </ac:spMkLst>
        </pc:spChg>
        <pc:spChg chg="del">
          <ac:chgData name="Giselle Mahoney" userId="7eee2dbd-9e84-4860-9460-f38fa898de51" providerId="ADAL" clId="{1358D971-124D-415B-A4BC-D8766538EF50}" dt="2025-04-02T15:01:42.345" v="33" actId="478"/>
          <ac:spMkLst>
            <pc:docMk/>
            <pc:sldMk cId="2168689737" sldId="285"/>
            <ac:spMk id="22" creationId="{9B956F6D-BF88-A310-7739-88C87CFF6C70}"/>
          </ac:spMkLst>
        </pc:spChg>
        <pc:picChg chg="del">
          <ac:chgData name="Giselle Mahoney" userId="7eee2dbd-9e84-4860-9460-f38fa898de51" providerId="ADAL" clId="{1358D971-124D-415B-A4BC-D8766538EF50}" dt="2025-04-02T15:01:42.345" v="33" actId="478"/>
          <ac:picMkLst>
            <pc:docMk/>
            <pc:sldMk cId="2168689737" sldId="285"/>
            <ac:picMk id="3" creationId="{CD0AD4ED-B095-69F0-FDED-03596C80F7BA}"/>
          </ac:picMkLst>
        </pc:picChg>
        <pc:picChg chg="del">
          <ac:chgData name="Giselle Mahoney" userId="7eee2dbd-9e84-4860-9460-f38fa898de51" providerId="ADAL" clId="{1358D971-124D-415B-A4BC-D8766538EF50}" dt="2025-04-02T15:01:42.345" v="33" actId="478"/>
          <ac:picMkLst>
            <pc:docMk/>
            <pc:sldMk cId="2168689737" sldId="285"/>
            <ac:picMk id="4" creationId="{57CA3935-2F6D-662A-E8C5-E75DDFC49E52}"/>
          </ac:picMkLst>
        </pc:picChg>
        <pc:picChg chg="del">
          <ac:chgData name="Giselle Mahoney" userId="7eee2dbd-9e84-4860-9460-f38fa898de51" providerId="ADAL" clId="{1358D971-124D-415B-A4BC-D8766538EF50}" dt="2025-04-02T15:01:42.345" v="33" actId="478"/>
          <ac:picMkLst>
            <pc:docMk/>
            <pc:sldMk cId="2168689737" sldId="285"/>
            <ac:picMk id="21" creationId="{C309DE61-347A-4F12-58F2-41FC3A316DD2}"/>
          </ac:picMkLst>
        </pc:picChg>
        <pc:picChg chg="del">
          <ac:chgData name="Giselle Mahoney" userId="7eee2dbd-9e84-4860-9460-f38fa898de51" providerId="ADAL" clId="{1358D971-124D-415B-A4BC-D8766538EF50}" dt="2025-04-02T15:01:42.345" v="33" actId="478"/>
          <ac:picMkLst>
            <pc:docMk/>
            <pc:sldMk cId="2168689737" sldId="285"/>
            <ac:picMk id="26" creationId="{1ABA7093-C1F4-CF2A-F831-4F00FEAE46E4}"/>
          </ac:picMkLst>
        </pc:picChg>
      </pc:sldChg>
      <pc:sldChg chg="add del">
        <pc:chgData name="Giselle Mahoney" userId="7eee2dbd-9e84-4860-9460-f38fa898de51" providerId="ADAL" clId="{1358D971-124D-415B-A4BC-D8766538EF50}" dt="2025-04-02T15:11:52.345" v="210" actId="47"/>
        <pc:sldMkLst>
          <pc:docMk/>
          <pc:sldMk cId="3458471605" sldId="286"/>
        </pc:sldMkLst>
      </pc:sldChg>
      <pc:sldChg chg="add mod ord modShow">
        <pc:chgData name="Giselle Mahoney" userId="7eee2dbd-9e84-4860-9460-f38fa898de51" providerId="ADAL" clId="{1358D971-124D-415B-A4BC-D8766538EF50}" dt="2025-04-02T15:20:02.249" v="380"/>
        <pc:sldMkLst>
          <pc:docMk/>
          <pc:sldMk cId="3977336864" sldId="286"/>
        </pc:sldMkLst>
      </pc:sldChg>
      <pc:sldChg chg="addSp delSp modSp add mod">
        <pc:chgData name="Giselle Mahoney" userId="7eee2dbd-9e84-4860-9460-f38fa898de51" providerId="ADAL" clId="{1358D971-124D-415B-A4BC-D8766538EF50}" dt="2025-04-02T15:20:54.453" v="393" actId="1036"/>
        <pc:sldMkLst>
          <pc:docMk/>
          <pc:sldMk cId="3451328575" sldId="287"/>
        </pc:sldMkLst>
        <pc:spChg chg="del">
          <ac:chgData name="Giselle Mahoney" userId="7eee2dbd-9e84-4860-9460-f38fa898de51" providerId="ADAL" clId="{1358D971-124D-415B-A4BC-D8766538EF50}" dt="2025-04-02T15:12:54.444" v="219" actId="478"/>
          <ac:spMkLst>
            <pc:docMk/>
            <pc:sldMk cId="3451328575" sldId="287"/>
            <ac:spMk id="2" creationId="{1414AD6B-BA8A-546E-7647-053D61A58F93}"/>
          </ac:spMkLst>
        </pc:spChg>
        <pc:spChg chg="add mod">
          <ac:chgData name="Giselle Mahoney" userId="7eee2dbd-9e84-4860-9460-f38fa898de51" providerId="ADAL" clId="{1358D971-124D-415B-A4BC-D8766538EF50}" dt="2025-04-02T15:20:54.453" v="393" actId="1036"/>
          <ac:spMkLst>
            <pc:docMk/>
            <pc:sldMk cId="3451328575" sldId="287"/>
            <ac:spMk id="3" creationId="{ADC8A223-4332-0D80-3F1D-E1BD0A20B2D5}"/>
          </ac:spMkLst>
        </pc:spChg>
        <pc:spChg chg="add mod">
          <ac:chgData name="Giselle Mahoney" userId="7eee2dbd-9e84-4860-9460-f38fa898de51" providerId="ADAL" clId="{1358D971-124D-415B-A4BC-D8766538EF50}" dt="2025-04-02T15:20:54.453" v="393" actId="1036"/>
          <ac:spMkLst>
            <pc:docMk/>
            <pc:sldMk cId="3451328575" sldId="287"/>
            <ac:spMk id="4" creationId="{E1C8D9EC-B0DE-9740-E6DC-A8C80F941543}"/>
          </ac:spMkLst>
        </pc:spChg>
        <pc:spChg chg="del mod">
          <ac:chgData name="Giselle Mahoney" userId="7eee2dbd-9e84-4860-9460-f38fa898de51" providerId="ADAL" clId="{1358D971-124D-415B-A4BC-D8766538EF50}" dt="2025-04-02T15:15:34.363" v="300" actId="478"/>
          <ac:spMkLst>
            <pc:docMk/>
            <pc:sldMk cId="3451328575" sldId="287"/>
            <ac:spMk id="5" creationId="{4BA02DEE-37EC-51B5-364E-47B825FD18B3}"/>
          </ac:spMkLst>
        </pc:spChg>
        <pc:spChg chg="add mod">
          <ac:chgData name="Giselle Mahoney" userId="7eee2dbd-9e84-4860-9460-f38fa898de51" providerId="ADAL" clId="{1358D971-124D-415B-A4BC-D8766538EF50}" dt="2025-04-02T15:20:54.453" v="393" actId="1036"/>
          <ac:spMkLst>
            <pc:docMk/>
            <pc:sldMk cId="3451328575" sldId="287"/>
            <ac:spMk id="6" creationId="{EAFDDE33-7D85-995E-59AD-0983FA42521B}"/>
          </ac:spMkLst>
        </pc:spChg>
        <pc:spChg chg="add del mod">
          <ac:chgData name="Giselle Mahoney" userId="7eee2dbd-9e84-4860-9460-f38fa898de51" providerId="ADAL" clId="{1358D971-124D-415B-A4BC-D8766538EF50}" dt="2025-04-02T15:20:20.571" v="381" actId="478"/>
          <ac:spMkLst>
            <pc:docMk/>
            <pc:sldMk cId="3451328575" sldId="287"/>
            <ac:spMk id="7" creationId="{47C6F6F6-3677-44B6-4962-944DA3814F87}"/>
          </ac:spMkLst>
        </pc:spChg>
        <pc:spChg chg="add mod">
          <ac:chgData name="Giselle Mahoney" userId="7eee2dbd-9e84-4860-9460-f38fa898de51" providerId="ADAL" clId="{1358D971-124D-415B-A4BC-D8766538EF50}" dt="2025-04-02T15:20:54.453" v="393" actId="1036"/>
          <ac:spMkLst>
            <pc:docMk/>
            <pc:sldMk cId="3451328575" sldId="287"/>
            <ac:spMk id="8" creationId="{41D96D6C-F4B4-8031-FB48-FE607F303A83}"/>
          </ac:spMkLst>
        </pc:spChg>
        <pc:spChg chg="add mod">
          <ac:chgData name="Giselle Mahoney" userId="7eee2dbd-9e84-4860-9460-f38fa898de51" providerId="ADAL" clId="{1358D971-124D-415B-A4BC-D8766538EF50}" dt="2025-04-02T15:20:54.453" v="393" actId="1036"/>
          <ac:spMkLst>
            <pc:docMk/>
            <pc:sldMk cId="3451328575" sldId="287"/>
            <ac:spMk id="10" creationId="{7DA6511A-CD6C-D217-98C2-D86374E36D0F}"/>
          </ac:spMkLst>
        </pc:spChg>
        <pc:spChg chg="add mod">
          <ac:chgData name="Giselle Mahoney" userId="7eee2dbd-9e84-4860-9460-f38fa898de51" providerId="ADAL" clId="{1358D971-124D-415B-A4BC-D8766538EF50}" dt="2025-04-02T15:20:54.453" v="393" actId="1036"/>
          <ac:spMkLst>
            <pc:docMk/>
            <pc:sldMk cId="3451328575" sldId="287"/>
            <ac:spMk id="11" creationId="{213583F7-62D0-A2E1-ABC3-9AA83587DE35}"/>
          </ac:spMkLst>
        </pc:spChg>
        <pc:spChg chg="add mod">
          <ac:chgData name="Giselle Mahoney" userId="7eee2dbd-9e84-4860-9460-f38fa898de51" providerId="ADAL" clId="{1358D971-124D-415B-A4BC-D8766538EF50}" dt="2025-04-02T15:20:54.453" v="393" actId="1036"/>
          <ac:spMkLst>
            <pc:docMk/>
            <pc:sldMk cId="3451328575" sldId="287"/>
            <ac:spMk id="12" creationId="{D8E0430E-7379-B1B2-9DF5-0BA939B55012}"/>
          </ac:spMkLst>
        </pc:spChg>
        <pc:spChg chg="del">
          <ac:chgData name="Giselle Mahoney" userId="7eee2dbd-9e84-4860-9460-f38fa898de51" providerId="ADAL" clId="{1358D971-124D-415B-A4BC-D8766538EF50}" dt="2025-04-02T15:12:30.114" v="216" actId="478"/>
          <ac:spMkLst>
            <pc:docMk/>
            <pc:sldMk cId="3451328575" sldId="287"/>
            <ac:spMk id="13" creationId="{C8B6B2DC-7A3F-F587-BABA-0D574CA68C9A}"/>
          </ac:spMkLst>
        </pc:spChg>
        <pc:spChg chg="add mod">
          <ac:chgData name="Giselle Mahoney" userId="7eee2dbd-9e84-4860-9460-f38fa898de51" providerId="ADAL" clId="{1358D971-124D-415B-A4BC-D8766538EF50}" dt="2025-04-02T15:20:54.453" v="393" actId="1036"/>
          <ac:spMkLst>
            <pc:docMk/>
            <pc:sldMk cId="3451328575" sldId="287"/>
            <ac:spMk id="14" creationId="{13E63FA7-BCC5-7DBB-7406-D567154EBABA}"/>
          </ac:spMkLst>
        </pc:spChg>
        <pc:spChg chg="add mod">
          <ac:chgData name="Giselle Mahoney" userId="7eee2dbd-9e84-4860-9460-f38fa898de51" providerId="ADAL" clId="{1358D971-124D-415B-A4BC-D8766538EF50}" dt="2025-04-02T15:16:04.309" v="319" actId="1036"/>
          <ac:spMkLst>
            <pc:docMk/>
            <pc:sldMk cId="3451328575" sldId="287"/>
            <ac:spMk id="15" creationId="{604C5F53-EF86-46A1-C954-18C941B2D528}"/>
          </ac:spMkLst>
        </pc:spChg>
        <pc:spChg chg="add del mod">
          <ac:chgData name="Giselle Mahoney" userId="7eee2dbd-9e84-4860-9460-f38fa898de51" providerId="ADAL" clId="{1358D971-124D-415B-A4BC-D8766538EF50}" dt="2025-04-02T15:12:57.665" v="220" actId="478"/>
          <ac:spMkLst>
            <pc:docMk/>
            <pc:sldMk cId="3451328575" sldId="287"/>
            <ac:spMk id="17" creationId="{1F09C661-F6E1-48C3-55E3-279895FC5A0D}"/>
          </ac:spMkLst>
        </pc:spChg>
        <pc:spChg chg="add mod">
          <ac:chgData name="Giselle Mahoney" userId="7eee2dbd-9e84-4860-9460-f38fa898de51" providerId="ADAL" clId="{1358D971-124D-415B-A4BC-D8766538EF50}" dt="2025-04-02T15:20:32.577" v="383" actId="207"/>
          <ac:spMkLst>
            <pc:docMk/>
            <pc:sldMk cId="3451328575" sldId="287"/>
            <ac:spMk id="18" creationId="{237404B1-A06D-7415-BF4A-6C25792A395F}"/>
          </ac:spMkLst>
        </pc:spChg>
        <pc:spChg chg="add mod">
          <ac:chgData name="Giselle Mahoney" userId="7eee2dbd-9e84-4860-9460-f38fa898de51" providerId="ADAL" clId="{1358D971-124D-415B-A4BC-D8766538EF50}" dt="2025-04-02T15:15:35.331" v="301"/>
          <ac:spMkLst>
            <pc:docMk/>
            <pc:sldMk cId="3451328575" sldId="287"/>
            <ac:spMk id="19" creationId="{0372C729-C326-27EC-EDA7-854E40BC245F}"/>
          </ac:spMkLst>
        </pc:spChg>
        <pc:spChg chg="add mod">
          <ac:chgData name="Giselle Mahoney" userId="7eee2dbd-9e84-4860-9460-f38fa898de51" providerId="ADAL" clId="{1358D971-124D-415B-A4BC-D8766538EF50}" dt="2025-04-02T15:20:21.157" v="382"/>
          <ac:spMkLst>
            <pc:docMk/>
            <pc:sldMk cId="3451328575" sldId="287"/>
            <ac:spMk id="20" creationId="{14EE3185-C266-E8D2-B483-95490688B334}"/>
          </ac:spMkLst>
        </pc:spChg>
        <pc:graphicFrameChg chg="add mod modGraphic">
          <ac:chgData name="Giselle Mahoney" userId="7eee2dbd-9e84-4860-9460-f38fa898de51" providerId="ADAL" clId="{1358D971-124D-415B-A4BC-D8766538EF50}" dt="2025-04-02T15:20:54.453" v="393" actId="1036"/>
          <ac:graphicFrameMkLst>
            <pc:docMk/>
            <pc:sldMk cId="3451328575" sldId="287"/>
            <ac:graphicFrameMk id="9" creationId="{0499D5FB-888B-6ED6-F656-881C715FD7E5}"/>
          </ac:graphicFrameMkLst>
        </pc:graphicFrameChg>
      </pc:sldChg>
      <pc:sldMasterChg chg="modSldLayout">
        <pc:chgData name="Giselle Mahoney" userId="7eee2dbd-9e84-4860-9460-f38fa898de51" providerId="ADAL" clId="{1358D971-124D-415B-A4BC-D8766538EF50}" dt="2025-04-02T15:11:45.587" v="209" actId="1036"/>
        <pc:sldMasterMkLst>
          <pc:docMk/>
          <pc:sldMasterMk cId="3472796180" sldId="2147483672"/>
        </pc:sldMasterMkLst>
        <pc:sldLayoutChg chg="addSp delSp modSp mod">
          <pc:chgData name="Giselle Mahoney" userId="7eee2dbd-9e84-4860-9460-f38fa898de51" providerId="ADAL" clId="{1358D971-124D-415B-A4BC-D8766538EF50}" dt="2025-04-02T15:11:45.587" v="209" actId="1036"/>
          <pc:sldLayoutMkLst>
            <pc:docMk/>
            <pc:sldMasterMk cId="3472796180" sldId="2147483672"/>
            <pc:sldLayoutMk cId="3755223973" sldId="2147483729"/>
          </pc:sldLayoutMkLst>
          <pc:spChg chg="add del mod">
            <ac:chgData name="Giselle Mahoney" userId="7eee2dbd-9e84-4860-9460-f38fa898de51" providerId="ADAL" clId="{1358D971-124D-415B-A4BC-D8766538EF50}" dt="2025-04-02T15:11:18.135" v="166" actId="14100"/>
            <ac:spMkLst>
              <pc:docMk/>
              <pc:sldMasterMk cId="3472796180" sldId="2147483672"/>
              <pc:sldLayoutMk cId="3755223973" sldId="2147483729"/>
              <ac:spMk id="8" creationId="{F808C503-0B38-295D-8F52-816BBE440CCE}"/>
            </ac:spMkLst>
          </pc:spChg>
          <pc:spChg chg="add del">
            <ac:chgData name="Giselle Mahoney" userId="7eee2dbd-9e84-4860-9460-f38fa898de51" providerId="ADAL" clId="{1358D971-124D-415B-A4BC-D8766538EF50}" dt="2025-04-02T15:00:52.433" v="20" actId="22"/>
            <ac:spMkLst>
              <pc:docMk/>
              <pc:sldMasterMk cId="3472796180" sldId="2147483672"/>
              <pc:sldLayoutMk cId="3755223973" sldId="2147483729"/>
              <ac:spMk id="10" creationId="{A75BB4E1-F05A-5535-E80A-6ACF10AE0960}"/>
            </ac:spMkLst>
          </pc:spChg>
          <pc:picChg chg="add mod">
            <ac:chgData name="Giselle Mahoney" userId="7eee2dbd-9e84-4860-9460-f38fa898de51" providerId="ADAL" clId="{1358D971-124D-415B-A4BC-D8766538EF50}" dt="2025-04-02T15:11:45.587" v="209" actId="1036"/>
            <ac:picMkLst>
              <pc:docMk/>
              <pc:sldMasterMk cId="3472796180" sldId="2147483672"/>
              <pc:sldLayoutMk cId="3755223973" sldId="2147483729"/>
              <ac:picMk id="11" creationId="{01676353-B607-3069-3BDA-421204369E5A}"/>
            </ac:picMkLst>
          </pc:picChg>
        </pc:sldLayoutChg>
      </pc:sldMasterChg>
    </pc:docChg>
  </pc:docChgLst>
  <pc:docChgLst>
    <pc:chgData name="Isabel Boona" userId="S::iboona@natcast.org::93a0e64a-9d02-47ea-a76f-b11b2d3312bd" providerId="AD" clId="Web-{E5313CE7-5A87-109D-A0F9-A9615BCF26FC}"/>
    <pc:docChg chg="modSld">
      <pc:chgData name="Isabel Boona" userId="S::iboona@natcast.org::93a0e64a-9d02-47ea-a76f-b11b2d3312bd" providerId="AD" clId="Web-{E5313CE7-5A87-109D-A0F9-A9615BCF26FC}" dt="2025-03-20T17:04:47.674" v="10" actId="20577"/>
      <pc:docMkLst>
        <pc:docMk/>
      </pc:docMkLst>
      <pc:sldChg chg="modSp">
        <pc:chgData name="Isabel Boona" userId="S::iboona@natcast.org::93a0e64a-9d02-47ea-a76f-b11b2d3312bd" providerId="AD" clId="Web-{E5313CE7-5A87-109D-A0F9-A9615BCF26FC}" dt="2025-03-20T17:04:47.674" v="10" actId="20577"/>
        <pc:sldMkLst>
          <pc:docMk/>
          <pc:sldMk cId="419318199" sldId="256"/>
        </pc:sldMkLst>
        <pc:spChg chg="mod">
          <ac:chgData name="Isabel Boona" userId="S::iboona@natcast.org::93a0e64a-9d02-47ea-a76f-b11b2d3312bd" providerId="AD" clId="Web-{E5313CE7-5A87-109D-A0F9-A9615BCF26FC}" dt="2025-03-20T17:04:47.674" v="10" actId="20577"/>
          <ac:spMkLst>
            <pc:docMk/>
            <pc:sldMk cId="419318199" sldId="256"/>
            <ac:spMk id="25" creationId="{AB986D50-87AE-777F-6E14-D6684458616B}"/>
          </ac:spMkLst>
        </pc:spChg>
      </pc:sldChg>
    </pc:docChg>
  </pc:docChgLst>
  <pc:docChgLst>
    <pc:chgData name="Isabel Boona" userId="S::iboona@natcast.org::93a0e64a-9d02-47ea-a76f-b11b2d3312bd" providerId="AD" clId="Web-{61F7BB9C-250B-202F-CD3C-3BF2DF0B9898}"/>
    <pc:docChg chg="delSld">
      <pc:chgData name="Isabel Boona" userId="S::iboona@natcast.org::93a0e64a-9d02-47ea-a76f-b11b2d3312bd" providerId="AD" clId="Web-{61F7BB9C-250B-202F-CD3C-3BF2DF0B9898}" dt="2025-04-02T15:40:13.895" v="1"/>
      <pc:docMkLst>
        <pc:docMk/>
      </pc:docMkLst>
      <pc:sldChg chg="del">
        <pc:chgData name="Isabel Boona" userId="S::iboona@natcast.org::93a0e64a-9d02-47ea-a76f-b11b2d3312bd" providerId="AD" clId="Web-{61F7BB9C-250B-202F-CD3C-3BF2DF0B9898}" dt="2025-04-02T15:40:12.535" v="0"/>
        <pc:sldMkLst>
          <pc:docMk/>
          <pc:sldMk cId="419318199" sldId="256"/>
        </pc:sldMkLst>
      </pc:sldChg>
      <pc:sldChg chg="del">
        <pc:chgData name="Isabel Boona" userId="S::iboona@natcast.org::93a0e64a-9d02-47ea-a76f-b11b2d3312bd" providerId="AD" clId="Web-{61F7BB9C-250B-202F-CD3C-3BF2DF0B9898}" dt="2025-04-02T15:40:13.895" v="1"/>
        <pc:sldMkLst>
          <pc:docMk/>
          <pc:sldMk cId="3977336864" sldId="286"/>
        </pc:sldMkLst>
      </pc:sldChg>
    </pc:docChg>
  </pc:docChgLst>
  <pc:docChgLst>
    <pc:chgData name="Isabel Boona" userId="S::iboona@natcast.org::93a0e64a-9d02-47ea-a76f-b11b2d3312bd" providerId="AD" clId="Web-{97D6C665-C3F5-43EE-4E0F-264D63A5BF4C}"/>
    <pc:docChg chg="modSld">
      <pc:chgData name="Isabel Boona" userId="S::iboona@natcast.org::93a0e64a-9d02-47ea-a76f-b11b2d3312bd" providerId="AD" clId="Web-{97D6C665-C3F5-43EE-4E0F-264D63A5BF4C}" dt="2025-03-12T17:55:44.869" v="33" actId="1076"/>
      <pc:docMkLst>
        <pc:docMk/>
      </pc:docMkLst>
      <pc:sldChg chg="modSp">
        <pc:chgData name="Isabel Boona" userId="S::iboona@natcast.org::93a0e64a-9d02-47ea-a76f-b11b2d3312bd" providerId="AD" clId="Web-{97D6C665-C3F5-43EE-4E0F-264D63A5BF4C}" dt="2025-03-12T17:53:58.463" v="4" actId="20577"/>
        <pc:sldMkLst>
          <pc:docMk/>
          <pc:sldMk cId="419318199" sldId="256"/>
        </pc:sldMkLst>
        <pc:spChg chg="mod">
          <ac:chgData name="Isabel Boona" userId="S::iboona@natcast.org::93a0e64a-9d02-47ea-a76f-b11b2d3312bd" providerId="AD" clId="Web-{97D6C665-C3F5-43EE-4E0F-264D63A5BF4C}" dt="2025-03-12T17:53:58.463" v="4" actId="20577"/>
          <ac:spMkLst>
            <pc:docMk/>
            <pc:sldMk cId="419318199" sldId="256"/>
            <ac:spMk id="25" creationId="{AB986D50-87AE-777F-6E14-D6684458616B}"/>
          </ac:spMkLst>
        </pc:spChg>
      </pc:sldChg>
      <pc:sldChg chg="modSp">
        <pc:chgData name="Isabel Boona" userId="S::iboona@natcast.org::93a0e64a-9d02-47ea-a76f-b11b2d3312bd" providerId="AD" clId="Web-{97D6C665-C3F5-43EE-4E0F-264D63A5BF4C}" dt="2025-03-12T17:55:44.869" v="33" actId="1076"/>
        <pc:sldMkLst>
          <pc:docMk/>
          <pc:sldMk cId="1854362378" sldId="257"/>
        </pc:sldMkLst>
        <pc:spChg chg="mod">
          <ac:chgData name="Isabel Boona" userId="S::iboona@natcast.org::93a0e64a-9d02-47ea-a76f-b11b2d3312bd" providerId="AD" clId="Web-{97D6C665-C3F5-43EE-4E0F-264D63A5BF4C}" dt="2025-03-12T17:55:23.854" v="32" actId="20577"/>
          <ac:spMkLst>
            <pc:docMk/>
            <pc:sldMk cId="1854362378" sldId="257"/>
            <ac:spMk id="15" creationId="{428ADA7F-512F-29F1-04D3-5826967121E5}"/>
          </ac:spMkLst>
        </pc:spChg>
        <pc:spChg chg="mod">
          <ac:chgData name="Isabel Boona" userId="S::iboona@natcast.org::93a0e64a-9d02-47ea-a76f-b11b2d3312bd" providerId="AD" clId="Web-{97D6C665-C3F5-43EE-4E0F-264D63A5BF4C}" dt="2025-03-12T17:55:44.869" v="33" actId="1076"/>
          <ac:spMkLst>
            <pc:docMk/>
            <pc:sldMk cId="1854362378" sldId="257"/>
            <ac:spMk id="17" creationId="{F26506DC-46BE-A35C-8AD4-B88B50AB39A7}"/>
          </ac:spMkLst>
        </pc:spChg>
      </pc:sldChg>
    </pc:docChg>
  </pc:docChgLst>
  <pc:docChgLst>
    <pc:chgData name="Isabel Boona" userId="S::iboona@natcast.org::93a0e64a-9d02-47ea-a76f-b11b2d3312bd" providerId="AD" clId="Web-{02D4338E-6282-49E5-05AC-1EFAF46847D8}"/>
    <pc:docChg chg="modSld">
      <pc:chgData name="Isabel Boona" userId="S::iboona@natcast.org::93a0e64a-9d02-47ea-a76f-b11b2d3312bd" providerId="AD" clId="Web-{02D4338E-6282-49E5-05AC-1EFAF46847D8}" dt="2025-04-02T17:57:05.193" v="11" actId="20577"/>
      <pc:docMkLst>
        <pc:docMk/>
      </pc:docMkLst>
      <pc:sldChg chg="modSp">
        <pc:chgData name="Isabel Boona" userId="S::iboona@natcast.org::93a0e64a-9d02-47ea-a76f-b11b2d3312bd" providerId="AD" clId="Web-{02D4338E-6282-49E5-05AC-1EFAF46847D8}" dt="2025-04-02T17:57:05.193" v="11" actId="20577"/>
        <pc:sldMkLst>
          <pc:docMk/>
          <pc:sldMk cId="3451328575" sldId="287"/>
        </pc:sldMkLst>
        <pc:spChg chg="mod">
          <ac:chgData name="Isabel Boona" userId="S::iboona@natcast.org::93a0e64a-9d02-47ea-a76f-b11b2d3312bd" providerId="AD" clId="Web-{02D4338E-6282-49E5-05AC-1EFAF46847D8}" dt="2025-04-02T17:56:21.225" v="0" actId="20577"/>
          <ac:spMkLst>
            <pc:docMk/>
            <pc:sldMk cId="3451328575" sldId="287"/>
            <ac:spMk id="10" creationId="{7DA6511A-CD6C-D217-98C2-D86374E36D0F}"/>
          </ac:spMkLst>
        </pc:spChg>
        <pc:spChg chg="mod">
          <ac:chgData name="Isabel Boona" userId="S::iboona@natcast.org::93a0e64a-9d02-47ea-a76f-b11b2d3312bd" providerId="AD" clId="Web-{02D4338E-6282-49E5-05AC-1EFAF46847D8}" dt="2025-04-02T17:56:37.990" v="2" actId="20577"/>
          <ac:spMkLst>
            <pc:docMk/>
            <pc:sldMk cId="3451328575" sldId="287"/>
            <ac:spMk id="12" creationId="{D8E0430E-7379-B1B2-9DF5-0BA939B55012}"/>
          </ac:spMkLst>
        </pc:spChg>
        <pc:spChg chg="mod">
          <ac:chgData name="Isabel Boona" userId="S::iboona@natcast.org::93a0e64a-9d02-47ea-a76f-b11b2d3312bd" providerId="AD" clId="Web-{02D4338E-6282-49E5-05AC-1EFAF46847D8}" dt="2025-04-02T17:56:50.474" v="4" actId="20577"/>
          <ac:spMkLst>
            <pc:docMk/>
            <pc:sldMk cId="3451328575" sldId="287"/>
            <ac:spMk id="14" creationId="{13E63FA7-BCC5-7DBB-7406-D567154EBABA}"/>
          </ac:spMkLst>
        </pc:spChg>
        <pc:spChg chg="mod">
          <ac:chgData name="Isabel Boona" userId="S::iboona@natcast.org::93a0e64a-9d02-47ea-a76f-b11b2d3312bd" providerId="AD" clId="Web-{02D4338E-6282-49E5-05AC-1EFAF46847D8}" dt="2025-04-02T17:57:05.193" v="11" actId="20577"/>
          <ac:spMkLst>
            <pc:docMk/>
            <pc:sldMk cId="3451328575" sldId="287"/>
            <ac:spMk id="18" creationId="{237404B1-A06D-7415-BF4A-6C25792A395F}"/>
          </ac:spMkLst>
        </pc:spChg>
      </pc:sldChg>
    </pc:docChg>
  </pc:docChgLst>
  <pc:docChgLst>
    <pc:chgData name="Isabel Boona" userId="S::iboona@natcast.org::93a0e64a-9d02-47ea-a76f-b11b2d3312bd" providerId="AD" clId="Web-{677ACCD9-0827-7097-1CD4-F0EEA9226A65}"/>
    <pc:docChg chg="modSld">
      <pc:chgData name="Isabel Boona" userId="S::iboona@natcast.org::93a0e64a-9d02-47ea-a76f-b11b2d3312bd" providerId="AD" clId="Web-{677ACCD9-0827-7097-1CD4-F0EEA9226A65}" dt="2025-03-19T20:06:53.700" v="2" actId="20577"/>
      <pc:docMkLst>
        <pc:docMk/>
      </pc:docMkLst>
      <pc:sldChg chg="modSp">
        <pc:chgData name="Isabel Boona" userId="S::iboona@natcast.org::93a0e64a-9d02-47ea-a76f-b11b2d3312bd" providerId="AD" clId="Web-{677ACCD9-0827-7097-1CD4-F0EEA9226A65}" dt="2025-03-19T20:06:53.700" v="2" actId="20577"/>
        <pc:sldMkLst>
          <pc:docMk/>
          <pc:sldMk cId="419318199" sldId="256"/>
        </pc:sldMkLst>
        <pc:spChg chg="mod">
          <ac:chgData name="Isabel Boona" userId="S::iboona@natcast.org::93a0e64a-9d02-47ea-a76f-b11b2d3312bd" providerId="AD" clId="Web-{677ACCD9-0827-7097-1CD4-F0EEA9226A65}" dt="2025-03-19T20:06:53.700" v="2" actId="20577"/>
          <ac:spMkLst>
            <pc:docMk/>
            <pc:sldMk cId="419318199" sldId="256"/>
            <ac:spMk id="25" creationId="{AB986D50-87AE-777F-6E14-D6684458616B}"/>
          </ac:spMkLst>
        </pc:spChg>
      </pc:sldChg>
      <pc:sldChg chg="modSp">
        <pc:chgData name="Isabel Boona" userId="S::iboona@natcast.org::93a0e64a-9d02-47ea-a76f-b11b2d3312bd" providerId="AD" clId="Web-{677ACCD9-0827-7097-1CD4-F0EEA9226A65}" dt="2025-03-19T20:06:30.951" v="1" actId="1076"/>
        <pc:sldMkLst>
          <pc:docMk/>
          <pc:sldMk cId="1854362378" sldId="257"/>
        </pc:sldMkLst>
        <pc:spChg chg="mod">
          <ac:chgData name="Isabel Boona" userId="S::iboona@natcast.org::93a0e64a-9d02-47ea-a76f-b11b2d3312bd" providerId="AD" clId="Web-{677ACCD9-0827-7097-1CD4-F0EEA9226A65}" dt="2025-03-19T20:06:28.935" v="0" actId="1076"/>
          <ac:spMkLst>
            <pc:docMk/>
            <pc:sldMk cId="1854362378" sldId="257"/>
            <ac:spMk id="15" creationId="{428ADA7F-512F-29F1-04D3-5826967121E5}"/>
          </ac:spMkLst>
        </pc:spChg>
        <pc:picChg chg="mod">
          <ac:chgData name="Isabel Boona" userId="S::iboona@natcast.org::93a0e64a-9d02-47ea-a76f-b11b2d3312bd" providerId="AD" clId="Web-{677ACCD9-0827-7097-1CD4-F0EEA9226A65}" dt="2025-03-19T20:06:30.951" v="1" actId="1076"/>
          <ac:picMkLst>
            <pc:docMk/>
            <pc:sldMk cId="1854362378" sldId="257"/>
            <ac:picMk id="9" creationId="{43471CF5-FDA2-6821-956A-AC114524FA5C}"/>
          </ac:picMkLst>
        </pc:picChg>
      </pc:sldChg>
    </pc:docChg>
  </pc:docChgLst>
  <pc:docChgLst>
    <pc:chgData name="Isabel Boona" userId="93a0e64a-9d02-47ea-a76f-b11b2d3312bd" providerId="ADAL" clId="{D647558E-90AC-434F-97A0-C5CB4AAD55CC}"/>
    <pc:docChg chg="modSld">
      <pc:chgData name="Isabel Boona" userId="93a0e64a-9d02-47ea-a76f-b11b2d3312bd" providerId="ADAL" clId="{D647558E-90AC-434F-97A0-C5CB4AAD55CC}" dt="2025-03-20T17:06:56.452" v="13" actId="20577"/>
      <pc:docMkLst>
        <pc:docMk/>
      </pc:docMkLst>
      <pc:sldChg chg="modSp mod">
        <pc:chgData name="Isabel Boona" userId="93a0e64a-9d02-47ea-a76f-b11b2d3312bd" providerId="ADAL" clId="{D647558E-90AC-434F-97A0-C5CB4AAD55CC}" dt="2025-03-20T17:06:56.452" v="13" actId="20577"/>
        <pc:sldMkLst>
          <pc:docMk/>
          <pc:sldMk cId="419318199" sldId="256"/>
        </pc:sldMkLst>
        <pc:spChg chg="mod">
          <ac:chgData name="Isabel Boona" userId="93a0e64a-9d02-47ea-a76f-b11b2d3312bd" providerId="ADAL" clId="{D647558E-90AC-434F-97A0-C5CB4AAD55CC}" dt="2025-03-20T17:06:56.452" v="13" actId="20577"/>
          <ac:spMkLst>
            <pc:docMk/>
            <pc:sldMk cId="419318199" sldId="256"/>
            <ac:spMk id="25" creationId="{AB986D50-87AE-777F-6E14-D6684458616B}"/>
          </ac:spMkLst>
        </pc:spChg>
      </pc:sldChg>
      <pc:sldChg chg="modSp mod">
        <pc:chgData name="Isabel Boona" userId="93a0e64a-9d02-47ea-a76f-b11b2d3312bd" providerId="ADAL" clId="{D647558E-90AC-434F-97A0-C5CB4AAD55CC}" dt="2025-03-20T17:06:04.170" v="11" actId="1076"/>
        <pc:sldMkLst>
          <pc:docMk/>
          <pc:sldMk cId="1854362378" sldId="257"/>
        </pc:sldMkLst>
        <pc:spChg chg="mod">
          <ac:chgData name="Isabel Boona" userId="93a0e64a-9d02-47ea-a76f-b11b2d3312bd" providerId="ADAL" clId="{D647558E-90AC-434F-97A0-C5CB4AAD55CC}" dt="2025-03-20T17:06:04.170" v="11" actId="1076"/>
          <ac:spMkLst>
            <pc:docMk/>
            <pc:sldMk cId="1854362378" sldId="257"/>
            <ac:spMk id="4" creationId="{383B548E-9214-725F-514E-8A5D2A465C36}"/>
          </ac:spMkLst>
        </pc:spChg>
        <pc:spChg chg="mod">
          <ac:chgData name="Isabel Boona" userId="93a0e64a-9d02-47ea-a76f-b11b2d3312bd" providerId="ADAL" clId="{D647558E-90AC-434F-97A0-C5CB4AAD55CC}" dt="2025-03-20T17:06:02.721" v="10" actId="20577"/>
          <ac:spMkLst>
            <pc:docMk/>
            <pc:sldMk cId="1854362378" sldId="257"/>
            <ac:spMk id="15" creationId="{428ADA7F-512F-29F1-04D3-5826967121E5}"/>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F9ACBB6-AB6E-4609-A887-12A4121F3075}" type="datetimeFigureOut">
              <a:rPr lang="en-US" smtClean="0"/>
              <a:t>4/2/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2B4701B-47B5-442D-A2FC-022CD7210AFE}" type="slidenum">
              <a:rPr lang="en-US" smtClean="0"/>
              <a:t>‹#›</a:t>
            </a:fld>
            <a:endParaRPr lang="en-US"/>
          </a:p>
        </p:txBody>
      </p:sp>
    </p:spTree>
    <p:extLst>
      <p:ext uri="{BB962C8B-B14F-4D97-AF65-F5344CB8AC3E}">
        <p14:creationId xmlns:p14="http://schemas.microsoft.com/office/powerpoint/2010/main" val="30325754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1923">
              <a:defRPr/>
            </a:pPr>
            <a:endParaRPr lang="en-US" sz="1900">
              <a:solidFill>
                <a:srgbClr val="000000"/>
              </a:solidFill>
              <a:latin typeface="Aptos" panose="020B00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41923" rtl="0" eaLnBrk="1" fontAlgn="auto" latinLnBrk="0" hangingPunct="1">
              <a:lnSpc>
                <a:spcPct val="100000"/>
              </a:lnSpc>
              <a:spcBef>
                <a:spcPts val="0"/>
              </a:spcBef>
              <a:spcAft>
                <a:spcPts val="0"/>
              </a:spcAft>
              <a:buClrTx/>
              <a:buSzTx/>
              <a:buFontTx/>
              <a:buNone/>
              <a:tabLst/>
              <a:defRPr/>
            </a:pPr>
            <a:fld id="{ED771258-7F70-40B6-92EF-4392FCC5174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1923"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99521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F0C336-6528-2BC9-DC9C-35F61B842E1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6CE3E74-8A09-8F14-1BBD-EACA342CFA3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1FD186C-6D21-F19E-CC05-368DE50B2439}"/>
              </a:ext>
            </a:extLst>
          </p:cNvPr>
          <p:cNvSpPr>
            <a:spLocks noGrp="1"/>
          </p:cNvSpPr>
          <p:nvPr>
            <p:ph type="body" idx="1"/>
          </p:nvPr>
        </p:nvSpPr>
        <p:spPr/>
        <p:txBody>
          <a:bodyPr/>
          <a:lstStyle/>
          <a:p>
            <a:pPr defTabSz="941923">
              <a:defRPr/>
            </a:pPr>
            <a:endParaRPr lang="en-US" sz="1900">
              <a:solidFill>
                <a:srgbClr val="000000"/>
              </a:solidFill>
              <a:latin typeface="Aptos" panose="020B0004020202020204" pitchFamily="34" charset="0"/>
            </a:endParaRPr>
          </a:p>
        </p:txBody>
      </p:sp>
      <p:sp>
        <p:nvSpPr>
          <p:cNvPr id="4" name="Slide Number Placeholder 3">
            <a:extLst>
              <a:ext uri="{FF2B5EF4-FFF2-40B4-BE49-F238E27FC236}">
                <a16:creationId xmlns:a16="http://schemas.microsoft.com/office/drawing/2014/main" id="{150A2F0F-ECD2-ACE4-C9AF-631D0F69AA30}"/>
              </a:ext>
            </a:extLst>
          </p:cNvPr>
          <p:cNvSpPr>
            <a:spLocks noGrp="1"/>
          </p:cNvSpPr>
          <p:nvPr>
            <p:ph type="sldNum" sz="quarter" idx="5"/>
          </p:nvPr>
        </p:nvSpPr>
        <p:spPr/>
        <p:txBody>
          <a:bodyPr/>
          <a:lstStyle/>
          <a:p>
            <a:pPr marL="0" marR="0" lvl="0" indent="0" algn="r" defTabSz="941923" rtl="0" eaLnBrk="1" fontAlgn="auto" latinLnBrk="0" hangingPunct="1">
              <a:lnSpc>
                <a:spcPct val="100000"/>
              </a:lnSpc>
              <a:spcBef>
                <a:spcPts val="0"/>
              </a:spcBef>
              <a:spcAft>
                <a:spcPts val="0"/>
              </a:spcAft>
              <a:buClrTx/>
              <a:buSzTx/>
              <a:buFontTx/>
              <a:buNone/>
              <a:tabLst/>
              <a:defRPr/>
            </a:pPr>
            <a:fld id="{ED771258-7F70-40B6-92EF-4392FCC5174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41923"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22062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pn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3" Type="http://schemas.openxmlformats.org/officeDocument/2006/relationships/image" Target="../media/image4.png"/><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image" Target="../media/image7.png"/><Relationship Id="rId1" Type="http://schemas.openxmlformats.org/officeDocument/2006/relationships/slideMaster" Target="../slideMasters/slideMaster2.xml"/><Relationship Id="rId6" Type="http://schemas.openxmlformats.org/officeDocument/2006/relationships/image" Target="../media/image9.png"/><Relationship Id="rId11" Type="http://schemas.openxmlformats.org/officeDocument/2006/relationships/image" Target="../media/image14.png"/><Relationship Id="rId5" Type="http://schemas.microsoft.com/office/2007/relationships/hdphoto" Target="../media/hdphoto2.wdp"/><Relationship Id="rId10" Type="http://schemas.openxmlformats.org/officeDocument/2006/relationships/image" Target="../media/image13.png"/><Relationship Id="rId4" Type="http://schemas.openxmlformats.org/officeDocument/2006/relationships/image" Target="../media/image8.png"/><Relationship Id="rId9" Type="http://schemas.openxmlformats.org/officeDocument/2006/relationships/image" Target="../media/image12.png"/></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2.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image" Target="../media/image9.png"/><Relationship Id="rId7" Type="http://schemas.openxmlformats.org/officeDocument/2006/relationships/image" Target="../media/image13.png"/><Relationship Id="rId2" Type="http://schemas.openxmlformats.org/officeDocument/2006/relationships/image" Target="../media/image20.jpeg"/><Relationship Id="rId1" Type="http://schemas.openxmlformats.org/officeDocument/2006/relationships/slideMaster" Target="../slideMasters/slideMaster2.xml"/><Relationship Id="rId6" Type="http://schemas.openxmlformats.org/officeDocument/2006/relationships/image" Target="../media/image12.png"/><Relationship Id="rId5" Type="http://schemas.openxmlformats.org/officeDocument/2006/relationships/image" Target="../media/image11.png"/><Relationship Id="rId10" Type="http://schemas.openxmlformats.org/officeDocument/2006/relationships/image" Target="../media/image16.png"/><Relationship Id="rId4" Type="http://schemas.openxmlformats.org/officeDocument/2006/relationships/image" Target="../media/image10.png"/><Relationship Id="rId9" Type="http://schemas.openxmlformats.org/officeDocument/2006/relationships/image" Target="../media/image15.pn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3.png"/><Relationship Id="rId1" Type="http://schemas.openxmlformats.org/officeDocument/2006/relationships/slideMaster" Target="../slideMasters/slideMaster2.xml"/><Relationship Id="rId4" Type="http://schemas.openxmlformats.org/officeDocument/2006/relationships/image" Target="../media/image19.png"/></Relationships>
</file>

<file path=ppt/slideLayouts/_rels/slideLayout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3.png"/><Relationship Id="rId1" Type="http://schemas.openxmlformats.org/officeDocument/2006/relationships/slideMaster" Target="../slideMasters/slideMaster2.xml"/><Relationship Id="rId4" Type="http://schemas.openxmlformats.org/officeDocument/2006/relationships/image" Target="../media/image24.jpe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7.png"/><Relationship Id="rId1" Type="http://schemas.openxmlformats.org/officeDocument/2006/relationships/slideMaster" Target="../slideMasters/slideMaster2.xml"/><Relationship Id="rId5" Type="http://schemas.microsoft.com/office/2007/relationships/hdphoto" Target="../media/hdphoto4.wdp"/><Relationship Id="rId4" Type="http://schemas.openxmlformats.org/officeDocument/2006/relationships/image" Target="../media/image28.png"/></Relationships>
</file>

<file path=ppt/slideLayouts/_rels/slideLayout3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9.png"/><Relationship Id="rId1" Type="http://schemas.openxmlformats.org/officeDocument/2006/relationships/slideMaster" Target="../slideMasters/slideMaster2.xml"/><Relationship Id="rId4" Type="http://schemas.openxmlformats.org/officeDocument/2006/relationships/image" Target="../media/image19.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16.png"/><Relationship Id="rId5" Type="http://schemas.openxmlformats.org/officeDocument/2006/relationships/image" Target="../media/image9.png"/><Relationship Id="rId4" Type="http://schemas.openxmlformats.org/officeDocument/2006/relationships/image" Target="../media/image4.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2.xml"/><Relationship Id="rId5" Type="http://schemas.openxmlformats.org/officeDocument/2006/relationships/image" Target="../media/image16.png"/><Relationship Id="rId4" Type="http://schemas.openxmlformats.org/officeDocument/2006/relationships/image" Target="../media/image9.png"/></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Master" Target="../slideMasters/slideMaster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 Id="rId9" Type="http://schemas.openxmlformats.org/officeDocument/2006/relationships/image" Target="../media/image16.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Master" Target="../slideMasters/slideMaster2.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 Id="rId9" Type="http://schemas.openxmlformats.org/officeDocument/2006/relationships/image" Target="../media/image16.png"/></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2.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png"/><Relationship Id="rId1" Type="http://schemas.openxmlformats.org/officeDocument/2006/relationships/slideMaster" Target="../slideMasters/slideMaster2.xml"/><Relationship Id="rId5" Type="http://schemas.microsoft.com/office/2007/relationships/hdphoto" Target="../media/hdphoto2.wdp"/><Relationship Id="rId4" Type="http://schemas.openxmlformats.org/officeDocument/2006/relationships/image" Target="../media/image8.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2.xml"/><Relationship Id="rId6" Type="http://schemas.openxmlformats.org/officeDocument/2006/relationships/image" Target="../media/image32.svg"/><Relationship Id="rId5" Type="http://schemas.openxmlformats.org/officeDocument/2006/relationships/image" Target="../media/image5.png"/><Relationship Id="rId4" Type="http://schemas.openxmlformats.org/officeDocument/2006/relationships/image" Target="../media/image4.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2.xml"/><Relationship Id="rId5" Type="http://schemas.openxmlformats.org/officeDocument/2006/relationships/image" Target="../media/image32.svg"/><Relationship Id="rId4" Type="http://schemas.openxmlformats.org/officeDocument/2006/relationships/image" Target="../media/image5.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CF42569B-14C1-480A-826C-27D70A3288BE}" type="datetimeFigureOut">
              <a:rPr lang="en-US" smtClean="0"/>
              <a:t>4/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B05F229-852D-4A77-95BA-3D996206520B}" type="slidenum">
              <a:rPr lang="en-US" smtClean="0"/>
              <a:t>‹#›</a:t>
            </a:fld>
            <a:endParaRPr lang="en-US"/>
          </a:p>
        </p:txBody>
      </p:sp>
    </p:spTree>
    <p:extLst>
      <p:ext uri="{BB962C8B-B14F-4D97-AF65-F5344CB8AC3E}">
        <p14:creationId xmlns:p14="http://schemas.microsoft.com/office/powerpoint/2010/main" val="29890623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F42569B-14C1-480A-826C-27D70A3288BE}" type="datetimeFigureOut">
              <a:rPr lang="en-US" smtClean="0"/>
              <a:t>4/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B05F229-852D-4A77-95BA-3D996206520B}" type="slidenum">
              <a:rPr lang="en-US" smtClean="0"/>
              <a:t>‹#›</a:t>
            </a:fld>
            <a:endParaRPr lang="en-US"/>
          </a:p>
        </p:txBody>
      </p:sp>
    </p:spTree>
    <p:extLst>
      <p:ext uri="{BB962C8B-B14F-4D97-AF65-F5344CB8AC3E}">
        <p14:creationId xmlns:p14="http://schemas.microsoft.com/office/powerpoint/2010/main" val="40273806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F42569B-14C1-480A-826C-27D70A3288BE}" type="datetimeFigureOut">
              <a:rPr lang="en-US" smtClean="0"/>
              <a:t>4/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B05F229-852D-4A77-95BA-3D996206520B}" type="slidenum">
              <a:rPr lang="en-US" smtClean="0"/>
              <a:t>‹#›</a:t>
            </a:fld>
            <a:endParaRPr lang="en-US"/>
          </a:p>
        </p:txBody>
      </p:sp>
    </p:spTree>
    <p:extLst>
      <p:ext uri="{BB962C8B-B14F-4D97-AF65-F5344CB8AC3E}">
        <p14:creationId xmlns:p14="http://schemas.microsoft.com/office/powerpoint/2010/main" val="11485947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1E7CCD-E486-9DF6-414C-277E527C62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6274FC9-5AB2-8724-D613-A59F11C81A2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115B814-D735-81C0-1E53-D00946910A80}"/>
              </a:ext>
            </a:extLst>
          </p:cNvPr>
          <p:cNvSpPr>
            <a:spLocks noGrp="1"/>
          </p:cNvSpPr>
          <p:nvPr>
            <p:ph type="dt" sz="half" idx="10"/>
          </p:nvPr>
        </p:nvSpPr>
        <p:spPr/>
        <p:txBody>
          <a:bodyPr/>
          <a:lstStyle/>
          <a:p>
            <a:fld id="{0A1070B4-68A0-44ED-A427-FE84EC184536}" type="datetime1">
              <a:rPr lang="en-US" smtClean="0"/>
              <a:t>4/2/2025</a:t>
            </a:fld>
            <a:endParaRPr lang="en-US"/>
          </a:p>
        </p:txBody>
      </p:sp>
      <p:sp>
        <p:nvSpPr>
          <p:cNvPr id="5" name="Footer Placeholder 4">
            <a:extLst>
              <a:ext uri="{FF2B5EF4-FFF2-40B4-BE49-F238E27FC236}">
                <a16:creationId xmlns:a16="http://schemas.microsoft.com/office/drawing/2014/main" id="{2160E8A6-AB61-DB9C-52F8-86E95A5C34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4D88795-EEAB-87A2-B36C-DC93A739B2E0}"/>
              </a:ext>
            </a:extLst>
          </p:cNvPr>
          <p:cNvSpPr>
            <a:spLocks noGrp="1"/>
          </p:cNvSpPr>
          <p:nvPr>
            <p:ph type="sldNum" sz="quarter" idx="12"/>
          </p:nvPr>
        </p:nvSpPr>
        <p:spPr/>
        <p:txBody>
          <a:bodyPr/>
          <a:lstStyle/>
          <a:p>
            <a:fld id="{FF7D9A68-EC15-4B1F-850C-8A6CCAFA90D8}" type="slidenum">
              <a:rPr lang="en-US" smtClean="0"/>
              <a:t>‹#›</a:t>
            </a:fld>
            <a:endParaRPr lang="en-US"/>
          </a:p>
        </p:txBody>
      </p:sp>
    </p:spTree>
    <p:extLst>
      <p:ext uri="{BB962C8B-B14F-4D97-AF65-F5344CB8AC3E}">
        <p14:creationId xmlns:p14="http://schemas.microsoft.com/office/powerpoint/2010/main" val="25073455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E064B-BE99-D0E1-93D6-2092DA28206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C7BB641-F4EB-BCA2-6ADE-854D11074DE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C9C32CC-76AC-66F3-3375-B83922D71AEA}"/>
              </a:ext>
            </a:extLst>
          </p:cNvPr>
          <p:cNvSpPr>
            <a:spLocks noGrp="1"/>
          </p:cNvSpPr>
          <p:nvPr>
            <p:ph type="dt" sz="half" idx="10"/>
          </p:nvPr>
        </p:nvSpPr>
        <p:spPr/>
        <p:txBody>
          <a:bodyPr/>
          <a:lstStyle/>
          <a:p>
            <a:fld id="{EFA8E549-90CA-49F9-9A79-D046AE9D56C8}" type="datetime1">
              <a:rPr lang="en-US" smtClean="0"/>
              <a:t>4/2/2025</a:t>
            </a:fld>
            <a:endParaRPr lang="en-US"/>
          </a:p>
        </p:txBody>
      </p:sp>
      <p:sp>
        <p:nvSpPr>
          <p:cNvPr id="5" name="Footer Placeholder 4">
            <a:extLst>
              <a:ext uri="{FF2B5EF4-FFF2-40B4-BE49-F238E27FC236}">
                <a16:creationId xmlns:a16="http://schemas.microsoft.com/office/drawing/2014/main" id="{8BDB066B-2714-8BBD-2CF8-D690E31051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BCFA592-60DC-BF66-B5D6-2A9935974C2D}"/>
              </a:ext>
            </a:extLst>
          </p:cNvPr>
          <p:cNvSpPr>
            <a:spLocks noGrp="1"/>
          </p:cNvSpPr>
          <p:nvPr>
            <p:ph type="sldNum" sz="quarter" idx="12"/>
          </p:nvPr>
        </p:nvSpPr>
        <p:spPr/>
        <p:txBody>
          <a:bodyPr/>
          <a:lstStyle/>
          <a:p>
            <a:fld id="{FF7D9A68-EC15-4B1F-850C-8A6CCAFA90D8}" type="slidenum">
              <a:rPr lang="en-US" smtClean="0"/>
              <a:t>‹#›</a:t>
            </a:fld>
            <a:endParaRPr lang="en-US"/>
          </a:p>
        </p:txBody>
      </p:sp>
    </p:spTree>
    <p:extLst>
      <p:ext uri="{BB962C8B-B14F-4D97-AF65-F5344CB8AC3E}">
        <p14:creationId xmlns:p14="http://schemas.microsoft.com/office/powerpoint/2010/main" val="8373595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FEADCE-53DB-8186-BE0D-D2AB9944AFB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8C2E598-4080-4803-554A-4266BEFE2FB4}"/>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D6EC165-14F2-5D1B-C237-FB99A95DC669}"/>
              </a:ext>
            </a:extLst>
          </p:cNvPr>
          <p:cNvSpPr>
            <a:spLocks noGrp="1"/>
          </p:cNvSpPr>
          <p:nvPr>
            <p:ph type="dt" sz="half" idx="10"/>
          </p:nvPr>
        </p:nvSpPr>
        <p:spPr/>
        <p:txBody>
          <a:bodyPr/>
          <a:lstStyle/>
          <a:p>
            <a:fld id="{064420C1-2A93-4071-B0D8-C945EFBB36B6}" type="datetime1">
              <a:rPr lang="en-US" smtClean="0"/>
              <a:t>4/2/2025</a:t>
            </a:fld>
            <a:endParaRPr lang="en-US"/>
          </a:p>
        </p:txBody>
      </p:sp>
      <p:sp>
        <p:nvSpPr>
          <p:cNvPr id="5" name="Footer Placeholder 4">
            <a:extLst>
              <a:ext uri="{FF2B5EF4-FFF2-40B4-BE49-F238E27FC236}">
                <a16:creationId xmlns:a16="http://schemas.microsoft.com/office/drawing/2014/main" id="{C28AF7E1-C37A-AB61-2C5D-28B0FA0D38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C1ADBC7-0332-1085-4209-9C78F382CE23}"/>
              </a:ext>
            </a:extLst>
          </p:cNvPr>
          <p:cNvSpPr>
            <a:spLocks noGrp="1"/>
          </p:cNvSpPr>
          <p:nvPr>
            <p:ph type="sldNum" sz="quarter" idx="12"/>
          </p:nvPr>
        </p:nvSpPr>
        <p:spPr/>
        <p:txBody>
          <a:bodyPr/>
          <a:lstStyle/>
          <a:p>
            <a:fld id="{FF7D9A68-EC15-4B1F-850C-8A6CCAFA90D8}" type="slidenum">
              <a:rPr lang="en-US" smtClean="0"/>
              <a:t>‹#›</a:t>
            </a:fld>
            <a:endParaRPr lang="en-US"/>
          </a:p>
        </p:txBody>
      </p:sp>
    </p:spTree>
    <p:extLst>
      <p:ext uri="{BB962C8B-B14F-4D97-AF65-F5344CB8AC3E}">
        <p14:creationId xmlns:p14="http://schemas.microsoft.com/office/powerpoint/2010/main" val="8801744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59E87C-5E1F-7159-94C4-BC9F5FC8B88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D61DE46-E53D-1EE4-6A7A-5BEDB12A234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71026EA-B4BA-1242-F0BC-D64F88E28C9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A7DDBF0-507B-DEE3-EC81-F07E473DC6D4}"/>
              </a:ext>
            </a:extLst>
          </p:cNvPr>
          <p:cNvSpPr>
            <a:spLocks noGrp="1"/>
          </p:cNvSpPr>
          <p:nvPr>
            <p:ph type="dt" sz="half" idx="10"/>
          </p:nvPr>
        </p:nvSpPr>
        <p:spPr/>
        <p:txBody>
          <a:bodyPr/>
          <a:lstStyle/>
          <a:p>
            <a:fld id="{1E468CF2-36F7-4711-A3EB-2EC488C2B8D3}" type="datetime1">
              <a:rPr lang="en-US" smtClean="0"/>
              <a:t>4/2/2025</a:t>
            </a:fld>
            <a:endParaRPr lang="en-US"/>
          </a:p>
        </p:txBody>
      </p:sp>
      <p:sp>
        <p:nvSpPr>
          <p:cNvPr id="6" name="Footer Placeholder 5">
            <a:extLst>
              <a:ext uri="{FF2B5EF4-FFF2-40B4-BE49-F238E27FC236}">
                <a16:creationId xmlns:a16="http://schemas.microsoft.com/office/drawing/2014/main" id="{5C0C8B47-5E80-33F9-B0B2-1839D9E85CD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E58A435-0132-1A56-6058-447CF3AB74FC}"/>
              </a:ext>
            </a:extLst>
          </p:cNvPr>
          <p:cNvSpPr>
            <a:spLocks noGrp="1"/>
          </p:cNvSpPr>
          <p:nvPr>
            <p:ph type="sldNum" sz="quarter" idx="12"/>
          </p:nvPr>
        </p:nvSpPr>
        <p:spPr/>
        <p:txBody>
          <a:bodyPr/>
          <a:lstStyle/>
          <a:p>
            <a:fld id="{FF7D9A68-EC15-4B1F-850C-8A6CCAFA90D8}" type="slidenum">
              <a:rPr lang="en-US" smtClean="0"/>
              <a:t>‹#›</a:t>
            </a:fld>
            <a:endParaRPr lang="en-US"/>
          </a:p>
        </p:txBody>
      </p:sp>
    </p:spTree>
    <p:extLst>
      <p:ext uri="{BB962C8B-B14F-4D97-AF65-F5344CB8AC3E}">
        <p14:creationId xmlns:p14="http://schemas.microsoft.com/office/powerpoint/2010/main" val="2806000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C86F68-7509-EF19-8008-26122213748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6BD1113-2226-5BFC-C7F2-71D96280981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55CFB31-B942-9A5E-3B74-7256AAD59A0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1BC3D53-45F9-D51D-893B-504975C7BAD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504366F-3573-23C1-CD5B-22C00401543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ACA6090-9C0D-EB75-EB10-B97116001BB5}"/>
              </a:ext>
            </a:extLst>
          </p:cNvPr>
          <p:cNvSpPr>
            <a:spLocks noGrp="1"/>
          </p:cNvSpPr>
          <p:nvPr>
            <p:ph type="dt" sz="half" idx="10"/>
          </p:nvPr>
        </p:nvSpPr>
        <p:spPr/>
        <p:txBody>
          <a:bodyPr/>
          <a:lstStyle/>
          <a:p>
            <a:fld id="{6129A262-1476-41CF-B01E-ACB1AD27CD4A}" type="datetime1">
              <a:rPr lang="en-US" smtClean="0"/>
              <a:t>4/2/2025</a:t>
            </a:fld>
            <a:endParaRPr lang="en-US"/>
          </a:p>
        </p:txBody>
      </p:sp>
      <p:sp>
        <p:nvSpPr>
          <p:cNvPr id="8" name="Footer Placeholder 7">
            <a:extLst>
              <a:ext uri="{FF2B5EF4-FFF2-40B4-BE49-F238E27FC236}">
                <a16:creationId xmlns:a16="http://schemas.microsoft.com/office/drawing/2014/main" id="{5F3BC248-C05F-EB7A-110F-6A348F6D1D4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1847101-62CD-7122-8E93-B16FB82319A1}"/>
              </a:ext>
            </a:extLst>
          </p:cNvPr>
          <p:cNvSpPr>
            <a:spLocks noGrp="1"/>
          </p:cNvSpPr>
          <p:nvPr>
            <p:ph type="sldNum" sz="quarter" idx="12"/>
          </p:nvPr>
        </p:nvSpPr>
        <p:spPr/>
        <p:txBody>
          <a:bodyPr/>
          <a:lstStyle/>
          <a:p>
            <a:fld id="{FF7D9A68-EC15-4B1F-850C-8A6CCAFA90D8}" type="slidenum">
              <a:rPr lang="en-US" smtClean="0"/>
              <a:t>‹#›</a:t>
            </a:fld>
            <a:endParaRPr lang="en-US"/>
          </a:p>
        </p:txBody>
      </p:sp>
    </p:spTree>
    <p:extLst>
      <p:ext uri="{BB962C8B-B14F-4D97-AF65-F5344CB8AC3E}">
        <p14:creationId xmlns:p14="http://schemas.microsoft.com/office/powerpoint/2010/main" val="39397075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with Overlay">
    <p:bg>
      <p:bgPr>
        <a:solidFill>
          <a:schemeClr val="tx2"/>
        </a:solidFill>
        <a:effectLst/>
      </p:bgPr>
    </p:bg>
    <p:spTree>
      <p:nvGrpSpPr>
        <p:cNvPr id="1" name=""/>
        <p:cNvGrpSpPr/>
        <p:nvPr/>
      </p:nvGrpSpPr>
      <p:grpSpPr>
        <a:xfrm>
          <a:off x="0" y="0"/>
          <a:ext cx="0" cy="0"/>
          <a:chOff x="0" y="0"/>
          <a:chExt cx="0" cy="0"/>
        </a:xfrm>
      </p:grpSpPr>
      <p:sp>
        <p:nvSpPr>
          <p:cNvPr id="25" name="Date Placeholder 24">
            <a:extLst>
              <a:ext uri="{FF2B5EF4-FFF2-40B4-BE49-F238E27FC236}">
                <a16:creationId xmlns:a16="http://schemas.microsoft.com/office/drawing/2014/main" id="{A57172BC-5EB5-C0CF-6CC0-97CFD6F72CB5}"/>
              </a:ext>
            </a:extLst>
          </p:cNvPr>
          <p:cNvSpPr>
            <a:spLocks noGrp="1"/>
          </p:cNvSpPr>
          <p:nvPr>
            <p:ph type="dt" sz="half" idx="10"/>
          </p:nvPr>
        </p:nvSpPr>
        <p:spPr/>
        <p:txBody>
          <a:bodyPr/>
          <a:lstStyle/>
          <a:p>
            <a:fld id="{51FAC167-1066-4F75-BBD8-AD23800D7D1F}" type="datetime1">
              <a:rPr lang="en-US" smtClean="0"/>
              <a:t>4/2/2025</a:t>
            </a:fld>
            <a:endParaRPr lang="en-US"/>
          </a:p>
        </p:txBody>
      </p:sp>
      <p:sp>
        <p:nvSpPr>
          <p:cNvPr id="26" name="Footer Placeholder 25">
            <a:extLst>
              <a:ext uri="{FF2B5EF4-FFF2-40B4-BE49-F238E27FC236}">
                <a16:creationId xmlns:a16="http://schemas.microsoft.com/office/drawing/2014/main" id="{92257F35-DE6E-9549-6ECF-1D42BE651129}"/>
              </a:ext>
            </a:extLst>
          </p:cNvPr>
          <p:cNvSpPr>
            <a:spLocks noGrp="1"/>
          </p:cNvSpPr>
          <p:nvPr>
            <p:ph type="ftr" sz="quarter" idx="11"/>
          </p:nvPr>
        </p:nvSpPr>
        <p:spPr/>
        <p:txBody>
          <a:bodyPr/>
          <a:lstStyle/>
          <a:p>
            <a:endParaRPr lang="en-US"/>
          </a:p>
        </p:txBody>
      </p:sp>
      <p:pic>
        <p:nvPicPr>
          <p:cNvPr id="4" name="object 4">
            <a:extLst>
              <a:ext uri="{FF2B5EF4-FFF2-40B4-BE49-F238E27FC236}">
                <a16:creationId xmlns:a16="http://schemas.microsoft.com/office/drawing/2014/main" id="{6B47318C-4C7C-9AC6-7295-C82E7586571D}"/>
              </a:ext>
            </a:extLst>
          </p:cNvPr>
          <p:cNvPicPr/>
          <p:nvPr/>
        </p:nvPicPr>
        <p:blipFill>
          <a:blip r:embed="rId2" cstate="print">
            <a:extLst>
              <a:ext uri="{BEBA8EAE-BF5A-486C-A8C5-ECC9F3942E4B}">
                <a14:imgProps xmlns:a14="http://schemas.microsoft.com/office/drawing/2010/main">
                  <a14:imgLayer r:embed="rId3">
                    <a14:imgEffect>
                      <a14:saturation sat="248000"/>
                    </a14:imgEffect>
                    <a14:imgEffect>
                      <a14:brightnessContrast bright="-39000"/>
                    </a14:imgEffect>
                  </a14:imgLayer>
                </a14:imgProps>
              </a:ext>
            </a:extLst>
          </a:blip>
          <a:stretch>
            <a:fillRect/>
          </a:stretch>
        </p:blipFill>
        <p:spPr>
          <a:xfrm>
            <a:off x="-8365" y="1785"/>
            <a:ext cx="12188825" cy="6856215"/>
          </a:xfrm>
          <a:prstGeom prst="rect">
            <a:avLst/>
          </a:prstGeom>
        </p:spPr>
      </p:pic>
      <p:sp>
        <p:nvSpPr>
          <p:cNvPr id="5" name="object 5">
            <a:extLst>
              <a:ext uri="{FF2B5EF4-FFF2-40B4-BE49-F238E27FC236}">
                <a16:creationId xmlns:a16="http://schemas.microsoft.com/office/drawing/2014/main" id="{67A66EC3-1C95-4734-B2D5-580258F8E8C3}"/>
              </a:ext>
            </a:extLst>
          </p:cNvPr>
          <p:cNvSpPr/>
          <p:nvPr/>
        </p:nvSpPr>
        <p:spPr>
          <a:xfrm>
            <a:off x="16343" y="4520"/>
            <a:ext cx="12188826" cy="6856312"/>
          </a:xfrm>
          <a:custGeom>
            <a:avLst/>
            <a:gdLst/>
            <a:ahLst/>
            <a:cxnLst/>
            <a:rect l="l" t="t" r="r" b="b"/>
            <a:pathLst>
              <a:path w="20104100" h="11308715">
                <a:moveTo>
                  <a:pt x="20104100" y="0"/>
                </a:moveTo>
                <a:lnTo>
                  <a:pt x="0" y="0"/>
                </a:lnTo>
                <a:lnTo>
                  <a:pt x="0" y="11308556"/>
                </a:lnTo>
                <a:lnTo>
                  <a:pt x="20104100" y="11308556"/>
                </a:lnTo>
                <a:lnTo>
                  <a:pt x="20104100" y="0"/>
                </a:lnTo>
                <a:close/>
              </a:path>
            </a:pathLst>
          </a:custGeom>
          <a:solidFill>
            <a:srgbClr val="A3AFB8">
              <a:alpha val="10000"/>
            </a:srgbClr>
          </a:solidFill>
        </p:spPr>
        <p:txBody>
          <a:bodyPr wrap="square" lIns="0" tIns="0" rIns="0" bIns="0" rtlCol="0"/>
          <a:lstStyle/>
          <a:p>
            <a:endParaRPr/>
          </a:p>
        </p:txBody>
      </p:sp>
      <p:pic>
        <p:nvPicPr>
          <p:cNvPr id="6" name="object 6">
            <a:extLst>
              <a:ext uri="{FF2B5EF4-FFF2-40B4-BE49-F238E27FC236}">
                <a16:creationId xmlns:a16="http://schemas.microsoft.com/office/drawing/2014/main" id="{A3B608DA-4897-AE5C-BF4F-4699CDEF9782}"/>
              </a:ext>
            </a:extLst>
          </p:cNvPr>
          <p:cNvPicPr/>
          <p:nvPr/>
        </p:nvPicPr>
        <p:blipFill>
          <a:blip r:embed="rId4" cstate="print">
            <a:alphaModFix amt="30000"/>
          </a:blip>
          <a:srcRect b="50000"/>
          <a:stretch/>
        </p:blipFill>
        <p:spPr>
          <a:xfrm>
            <a:off x="-13167" y="-3105"/>
            <a:ext cx="12188824" cy="6918255"/>
          </a:xfrm>
          <a:prstGeom prst="rect">
            <a:avLst/>
          </a:prstGeom>
        </p:spPr>
      </p:pic>
      <p:sp>
        <p:nvSpPr>
          <p:cNvPr id="19" name="Slide Number Box">
            <a:extLst>
              <a:ext uri="{FF2B5EF4-FFF2-40B4-BE49-F238E27FC236}">
                <a16:creationId xmlns:a16="http://schemas.microsoft.com/office/drawing/2014/main" id="{E4D665D4-9456-4BFE-7EC3-05AB4B0AE735}"/>
              </a:ext>
            </a:extLst>
          </p:cNvPr>
          <p:cNvSpPr txBox="1"/>
          <p:nvPr userDrawn="1"/>
        </p:nvSpPr>
        <p:spPr>
          <a:xfrm>
            <a:off x="11566535" y="6234575"/>
            <a:ext cx="279503" cy="283464"/>
          </a:xfrm>
          <a:prstGeom prst="rect">
            <a:avLst/>
          </a:prstGeom>
          <a:solidFill>
            <a:srgbClr val="FFD700"/>
          </a:solidFill>
        </p:spPr>
        <p:txBody>
          <a:bodyPr vert="horz" wrap="square" lIns="0" tIns="38884" rIns="0" bIns="0" rtlCol="0">
            <a:spAutoFit/>
          </a:bodyPr>
          <a:lstStyle/>
          <a:p>
            <a:pPr marL="55825" algn="ctr">
              <a:spcBef>
                <a:spcPts val="306"/>
              </a:spcBef>
            </a:pPr>
            <a:endParaRPr sz="1182">
              <a:latin typeface="Real Head Pro"/>
              <a:cs typeface="Real Head Pro"/>
            </a:endParaRPr>
          </a:p>
        </p:txBody>
      </p:sp>
      <p:sp>
        <p:nvSpPr>
          <p:cNvPr id="29" name="Slide Number Placeholder 29">
            <a:extLst>
              <a:ext uri="{FF2B5EF4-FFF2-40B4-BE49-F238E27FC236}">
                <a16:creationId xmlns:a16="http://schemas.microsoft.com/office/drawing/2014/main" id="{6E382458-B723-C4B9-E69F-E964EF9F325C}"/>
              </a:ext>
            </a:extLst>
          </p:cNvPr>
          <p:cNvSpPr>
            <a:spLocks noGrp="1"/>
          </p:cNvSpPr>
          <p:nvPr userDrawn="1">
            <p:ph type="sldNum" sz="quarter" idx="12"/>
          </p:nvPr>
        </p:nvSpPr>
        <p:spPr>
          <a:xfrm>
            <a:off x="11562574" y="6234576"/>
            <a:ext cx="283464" cy="283464"/>
          </a:xfrm>
        </p:spPr>
        <p:txBody>
          <a:bodyPr/>
          <a:lstStyle/>
          <a:p>
            <a:fld id="{FF7D9A68-EC15-4B1F-850C-8A6CCAFA90D8}" type="slidenum">
              <a:rPr lang="en-US" smtClean="0"/>
              <a:pPr/>
              <a:t>‹#›</a:t>
            </a:fld>
            <a:endParaRPr lang="en-US"/>
          </a:p>
        </p:txBody>
      </p:sp>
      <p:sp>
        <p:nvSpPr>
          <p:cNvPr id="24" name="Title 23">
            <a:extLst>
              <a:ext uri="{FF2B5EF4-FFF2-40B4-BE49-F238E27FC236}">
                <a16:creationId xmlns:a16="http://schemas.microsoft.com/office/drawing/2014/main" id="{CEBB91A9-6F0E-2D55-308F-665EE784ADE5}"/>
              </a:ext>
            </a:extLst>
          </p:cNvPr>
          <p:cNvSpPr>
            <a:spLocks noGrp="1"/>
          </p:cNvSpPr>
          <p:nvPr userDrawn="1">
            <p:ph type="title"/>
          </p:nvPr>
        </p:nvSpPr>
        <p:spPr/>
        <p:txBody>
          <a:bodyPr anchor="ctr"/>
          <a:lstStyle>
            <a:lvl1pPr>
              <a:defRPr>
                <a:solidFill>
                  <a:schemeClr val="bg1"/>
                </a:solidFill>
              </a:defRPr>
            </a:lvl1pPr>
          </a:lstStyle>
          <a:p>
            <a:r>
              <a:rPr lang="en-US"/>
              <a:t>Click to edit Master title style</a:t>
            </a:r>
          </a:p>
        </p:txBody>
      </p:sp>
      <p:pic>
        <p:nvPicPr>
          <p:cNvPr id="3" name="Graphic 2">
            <a:extLst>
              <a:ext uri="{FF2B5EF4-FFF2-40B4-BE49-F238E27FC236}">
                <a16:creationId xmlns:a16="http://schemas.microsoft.com/office/drawing/2014/main" id="{8F72E680-3130-5978-71DE-5A41A2299AD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755910" y="6285404"/>
            <a:ext cx="706755" cy="192024"/>
          </a:xfrm>
          <a:prstGeom prst="rect">
            <a:avLst/>
          </a:prstGeom>
        </p:spPr>
      </p:pic>
    </p:spTree>
    <p:extLst>
      <p:ext uri="{BB962C8B-B14F-4D97-AF65-F5344CB8AC3E}">
        <p14:creationId xmlns:p14="http://schemas.microsoft.com/office/powerpoint/2010/main" val="3976482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Title with Overlay">
    <p:spTree>
      <p:nvGrpSpPr>
        <p:cNvPr id="1" name=""/>
        <p:cNvGrpSpPr/>
        <p:nvPr/>
      </p:nvGrpSpPr>
      <p:grpSpPr>
        <a:xfrm>
          <a:off x="0" y="0"/>
          <a:ext cx="0" cy="0"/>
          <a:chOff x="0" y="0"/>
          <a:chExt cx="0" cy="0"/>
        </a:xfrm>
      </p:grpSpPr>
      <p:sp>
        <p:nvSpPr>
          <p:cNvPr id="9" name="object 2">
            <a:extLst>
              <a:ext uri="{FF2B5EF4-FFF2-40B4-BE49-F238E27FC236}">
                <a16:creationId xmlns:a16="http://schemas.microsoft.com/office/drawing/2014/main" id="{66FE2BF9-5361-4FFA-321F-25D246DE516F}"/>
              </a:ext>
            </a:extLst>
          </p:cNvPr>
          <p:cNvSpPr/>
          <p:nvPr userDrawn="1"/>
        </p:nvSpPr>
        <p:spPr>
          <a:xfrm>
            <a:off x="1588" y="845"/>
            <a:ext cx="12188825" cy="6856310"/>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A3AFB8"/>
          </a:solidFill>
        </p:spPr>
        <p:txBody>
          <a:bodyPr wrap="square" lIns="0" tIns="0" rIns="0" bIns="0" rtlCol="0"/>
          <a:lstStyle/>
          <a:p>
            <a:endParaRPr/>
          </a:p>
        </p:txBody>
      </p:sp>
      <p:grpSp>
        <p:nvGrpSpPr>
          <p:cNvPr id="10" name="object 3">
            <a:extLst>
              <a:ext uri="{FF2B5EF4-FFF2-40B4-BE49-F238E27FC236}">
                <a16:creationId xmlns:a16="http://schemas.microsoft.com/office/drawing/2014/main" id="{753D11DD-16FC-3DFF-C131-326E9DB9B807}"/>
              </a:ext>
            </a:extLst>
          </p:cNvPr>
          <p:cNvGrpSpPr/>
          <p:nvPr userDrawn="1"/>
        </p:nvGrpSpPr>
        <p:grpSpPr>
          <a:xfrm>
            <a:off x="1588" y="773"/>
            <a:ext cx="12188825" cy="6856454"/>
            <a:chOff x="0" y="0"/>
            <a:chExt cx="20104100" cy="11308952"/>
          </a:xfrm>
        </p:grpSpPr>
        <p:pic>
          <p:nvPicPr>
            <p:cNvPr id="11" name="object 4">
              <a:extLst>
                <a:ext uri="{FF2B5EF4-FFF2-40B4-BE49-F238E27FC236}">
                  <a16:creationId xmlns:a16="http://schemas.microsoft.com/office/drawing/2014/main" id="{132C9ED8-93E2-1CA6-BDFB-E2620DB02BB0}"/>
                </a:ext>
              </a:extLst>
            </p:cNvPr>
            <p:cNvPicPr/>
            <p:nvPr/>
          </p:nvPicPr>
          <p:blipFill>
            <a:blip r:embed="rId2" cstate="print"/>
            <a:stretch>
              <a:fillRect/>
            </a:stretch>
          </p:blipFill>
          <p:spPr>
            <a:xfrm>
              <a:off x="0" y="0"/>
              <a:ext cx="20104100" cy="11308556"/>
            </a:xfrm>
            <a:prstGeom prst="rect">
              <a:avLst/>
            </a:prstGeom>
          </p:spPr>
        </p:pic>
        <p:sp>
          <p:nvSpPr>
            <p:cNvPr id="12" name="object 5">
              <a:extLst>
                <a:ext uri="{FF2B5EF4-FFF2-40B4-BE49-F238E27FC236}">
                  <a16:creationId xmlns:a16="http://schemas.microsoft.com/office/drawing/2014/main" id="{1E821BEA-322F-FCAA-8381-6C20B928F072}"/>
                </a:ext>
              </a:extLst>
            </p:cNvPr>
            <p:cNvSpPr/>
            <p:nvPr/>
          </p:nvSpPr>
          <p:spPr>
            <a:xfrm>
              <a:off x="0" y="0"/>
              <a:ext cx="20104100" cy="11308715"/>
            </a:xfrm>
            <a:custGeom>
              <a:avLst/>
              <a:gdLst/>
              <a:ahLst/>
              <a:cxnLst/>
              <a:rect l="l" t="t" r="r" b="b"/>
              <a:pathLst>
                <a:path w="20104100" h="11308715">
                  <a:moveTo>
                    <a:pt x="20104100" y="0"/>
                  </a:moveTo>
                  <a:lnTo>
                    <a:pt x="0" y="0"/>
                  </a:lnTo>
                  <a:lnTo>
                    <a:pt x="0" y="11308556"/>
                  </a:lnTo>
                  <a:lnTo>
                    <a:pt x="20104100" y="11308556"/>
                  </a:lnTo>
                  <a:lnTo>
                    <a:pt x="20104100" y="0"/>
                  </a:lnTo>
                  <a:close/>
                </a:path>
              </a:pathLst>
            </a:custGeom>
            <a:solidFill>
              <a:srgbClr val="A3AFB8">
                <a:alpha val="14799"/>
              </a:srgbClr>
            </a:solidFill>
          </p:spPr>
          <p:txBody>
            <a:bodyPr wrap="square" lIns="0" tIns="0" rIns="0" bIns="0" rtlCol="0"/>
            <a:lstStyle/>
            <a:p>
              <a:endParaRPr/>
            </a:p>
          </p:txBody>
        </p:sp>
        <p:pic>
          <p:nvPicPr>
            <p:cNvPr id="13" name="object 6">
              <a:extLst>
                <a:ext uri="{FF2B5EF4-FFF2-40B4-BE49-F238E27FC236}">
                  <a16:creationId xmlns:a16="http://schemas.microsoft.com/office/drawing/2014/main" id="{3904E7C7-1687-E5B3-D792-EC3205513950}"/>
                </a:ext>
              </a:extLst>
            </p:cNvPr>
            <p:cNvPicPr/>
            <p:nvPr/>
          </p:nvPicPr>
          <p:blipFill>
            <a:blip r:embed="rId3" cstate="print"/>
            <a:stretch>
              <a:fillRect/>
            </a:stretch>
          </p:blipFill>
          <p:spPr>
            <a:xfrm>
              <a:off x="0" y="0"/>
              <a:ext cx="20104098" cy="11308556"/>
            </a:xfrm>
            <a:prstGeom prst="rect">
              <a:avLst/>
            </a:prstGeom>
          </p:spPr>
        </p:pic>
        <p:sp>
          <p:nvSpPr>
            <p:cNvPr id="14" name="object 7">
              <a:extLst>
                <a:ext uri="{FF2B5EF4-FFF2-40B4-BE49-F238E27FC236}">
                  <a16:creationId xmlns:a16="http://schemas.microsoft.com/office/drawing/2014/main" id="{3ABC861D-73EC-A08A-2220-5B5499C2FFDB}"/>
                </a:ext>
              </a:extLst>
            </p:cNvPr>
            <p:cNvSpPr/>
            <p:nvPr/>
          </p:nvSpPr>
          <p:spPr>
            <a:xfrm>
              <a:off x="0" y="5654278"/>
              <a:ext cx="20104100" cy="5654674"/>
            </a:xfrm>
            <a:custGeom>
              <a:avLst/>
              <a:gdLst/>
              <a:ahLst/>
              <a:cxnLst/>
              <a:rect l="l" t="t" r="r" b="b"/>
              <a:pathLst>
                <a:path w="20104100" h="5654675">
                  <a:moveTo>
                    <a:pt x="20104100" y="0"/>
                  </a:moveTo>
                  <a:lnTo>
                    <a:pt x="0" y="0"/>
                  </a:lnTo>
                  <a:lnTo>
                    <a:pt x="0" y="5654278"/>
                  </a:lnTo>
                  <a:lnTo>
                    <a:pt x="20104100" y="5654278"/>
                  </a:lnTo>
                  <a:lnTo>
                    <a:pt x="20104100" y="0"/>
                  </a:lnTo>
                  <a:close/>
                </a:path>
              </a:pathLst>
            </a:custGeom>
            <a:solidFill>
              <a:srgbClr val="A3AFB8"/>
            </a:solidFill>
          </p:spPr>
          <p:txBody>
            <a:bodyPr wrap="square" lIns="0" tIns="0" rIns="0" bIns="0" rtlCol="0"/>
            <a:lstStyle/>
            <a:p>
              <a:endParaRPr/>
            </a:p>
          </p:txBody>
        </p:sp>
      </p:grpSp>
      <p:sp>
        <p:nvSpPr>
          <p:cNvPr id="24" name="Title 23">
            <a:extLst>
              <a:ext uri="{FF2B5EF4-FFF2-40B4-BE49-F238E27FC236}">
                <a16:creationId xmlns:a16="http://schemas.microsoft.com/office/drawing/2014/main" id="{CEBB91A9-6F0E-2D55-308F-665EE784ADE5}"/>
              </a:ext>
            </a:extLst>
          </p:cNvPr>
          <p:cNvSpPr>
            <a:spLocks noGrp="1"/>
          </p:cNvSpPr>
          <p:nvPr>
            <p:ph type="title"/>
          </p:nvPr>
        </p:nvSpPr>
        <p:spPr/>
        <p:txBody>
          <a:bodyPr anchor="ctr"/>
          <a:lstStyle>
            <a:lvl1pPr>
              <a:defRPr>
                <a:solidFill>
                  <a:schemeClr val="bg1"/>
                </a:solidFill>
              </a:defRPr>
            </a:lvl1pPr>
          </a:lstStyle>
          <a:p>
            <a:r>
              <a:rPr lang="en-US"/>
              <a:t>Click to edit Master title style</a:t>
            </a:r>
          </a:p>
        </p:txBody>
      </p:sp>
      <p:sp>
        <p:nvSpPr>
          <p:cNvPr id="25" name="Date Placeholder 24">
            <a:extLst>
              <a:ext uri="{FF2B5EF4-FFF2-40B4-BE49-F238E27FC236}">
                <a16:creationId xmlns:a16="http://schemas.microsoft.com/office/drawing/2014/main" id="{A57172BC-5EB5-C0CF-6CC0-97CFD6F72CB5}"/>
              </a:ext>
            </a:extLst>
          </p:cNvPr>
          <p:cNvSpPr>
            <a:spLocks noGrp="1"/>
          </p:cNvSpPr>
          <p:nvPr>
            <p:ph type="dt" sz="half" idx="10"/>
          </p:nvPr>
        </p:nvSpPr>
        <p:spPr/>
        <p:txBody>
          <a:bodyPr/>
          <a:lstStyle/>
          <a:p>
            <a:fld id="{51FAC167-1066-4F75-BBD8-AD23800D7D1F}" type="datetime1">
              <a:rPr lang="en-US" smtClean="0"/>
              <a:t>4/2/2025</a:t>
            </a:fld>
            <a:endParaRPr lang="en-US"/>
          </a:p>
        </p:txBody>
      </p:sp>
      <p:sp>
        <p:nvSpPr>
          <p:cNvPr id="26" name="Footer Placeholder 25">
            <a:extLst>
              <a:ext uri="{FF2B5EF4-FFF2-40B4-BE49-F238E27FC236}">
                <a16:creationId xmlns:a16="http://schemas.microsoft.com/office/drawing/2014/main" id="{92257F35-DE6E-9549-6ECF-1D42BE651129}"/>
              </a:ext>
            </a:extLst>
          </p:cNvPr>
          <p:cNvSpPr>
            <a:spLocks noGrp="1"/>
          </p:cNvSpPr>
          <p:nvPr>
            <p:ph type="ftr" sz="quarter" idx="11"/>
          </p:nvPr>
        </p:nvSpPr>
        <p:spPr/>
        <p:txBody>
          <a:bodyPr/>
          <a:lstStyle/>
          <a:p>
            <a:endParaRPr lang="en-US"/>
          </a:p>
        </p:txBody>
      </p:sp>
      <p:pic>
        <p:nvPicPr>
          <p:cNvPr id="2" name="Picture 1" descr="A close-up of a computer chip&#10;&#10;Description automatically generated">
            <a:extLst>
              <a:ext uri="{FF2B5EF4-FFF2-40B4-BE49-F238E27FC236}">
                <a16:creationId xmlns:a16="http://schemas.microsoft.com/office/drawing/2014/main" id="{F33A4FDF-F55B-87BA-BD89-B8E24692ACE5}"/>
              </a:ext>
            </a:extLst>
          </p:cNvPr>
          <p:cNvPicPr>
            <a:picLocks noChangeAspect="1"/>
          </p:cNvPicPr>
          <p:nvPr userDrawn="1"/>
        </p:nvPicPr>
        <p:blipFill>
          <a:blip r:embed="rId4">
            <a:alphaModFix amt="50000"/>
            <a:extLst>
              <a:ext uri="{BEBA8EAE-BF5A-486C-A8C5-ECC9F3942E4B}">
                <a14:imgProps xmlns:a14="http://schemas.microsoft.com/office/drawing/2010/main">
                  <a14:imgLayer r:embed="rId5">
                    <a14:imgEffect>
                      <a14:brightnessContrast bright="15000"/>
                    </a14:imgEffect>
                  </a14:imgLayer>
                </a14:imgProps>
              </a:ext>
              <a:ext uri="{28A0092B-C50C-407E-A947-70E740481C1C}">
                <a14:useLocalDpi xmlns:a14="http://schemas.microsoft.com/office/drawing/2010/main" val="0"/>
              </a:ext>
            </a:extLst>
          </a:blip>
          <a:srcRect l="4344" t="5917" r="3550" b="-446"/>
          <a:stretch/>
        </p:blipFill>
        <p:spPr>
          <a:xfrm>
            <a:off x="-19050" y="1787"/>
            <a:ext cx="12188823" cy="6856213"/>
          </a:xfrm>
          <a:prstGeom prst="rect">
            <a:avLst/>
          </a:prstGeom>
        </p:spPr>
      </p:pic>
      <p:sp>
        <p:nvSpPr>
          <p:cNvPr id="8" name="Slide Number Box">
            <a:extLst>
              <a:ext uri="{FF2B5EF4-FFF2-40B4-BE49-F238E27FC236}">
                <a16:creationId xmlns:a16="http://schemas.microsoft.com/office/drawing/2014/main" id="{4F61EBA6-C752-C41E-E57B-73A638276B62}"/>
              </a:ext>
            </a:extLst>
          </p:cNvPr>
          <p:cNvSpPr txBox="1"/>
          <p:nvPr userDrawn="1"/>
        </p:nvSpPr>
        <p:spPr>
          <a:xfrm>
            <a:off x="11566535" y="6234575"/>
            <a:ext cx="279503" cy="283464"/>
          </a:xfrm>
          <a:prstGeom prst="rect">
            <a:avLst/>
          </a:prstGeom>
          <a:solidFill>
            <a:srgbClr val="FFD700"/>
          </a:solidFill>
        </p:spPr>
        <p:txBody>
          <a:bodyPr vert="horz" wrap="square" lIns="0" tIns="38884" rIns="0" bIns="0" rtlCol="0">
            <a:spAutoFit/>
          </a:bodyPr>
          <a:lstStyle/>
          <a:p>
            <a:pPr marL="55825" algn="ctr">
              <a:spcBef>
                <a:spcPts val="306"/>
              </a:spcBef>
            </a:pPr>
            <a:endParaRPr sz="1182">
              <a:latin typeface="Real Head Pro"/>
              <a:cs typeface="Real Head Pro"/>
            </a:endParaRPr>
          </a:p>
        </p:txBody>
      </p:sp>
      <p:sp>
        <p:nvSpPr>
          <p:cNvPr id="15" name="Slide Number Placeholder 29">
            <a:extLst>
              <a:ext uri="{FF2B5EF4-FFF2-40B4-BE49-F238E27FC236}">
                <a16:creationId xmlns:a16="http://schemas.microsoft.com/office/drawing/2014/main" id="{D07999A6-3758-E23C-F670-F18708063860}"/>
              </a:ext>
            </a:extLst>
          </p:cNvPr>
          <p:cNvSpPr>
            <a:spLocks noGrp="1"/>
          </p:cNvSpPr>
          <p:nvPr>
            <p:ph type="sldNum" sz="quarter" idx="12"/>
          </p:nvPr>
        </p:nvSpPr>
        <p:spPr>
          <a:xfrm>
            <a:off x="11562574" y="6234576"/>
            <a:ext cx="283464" cy="283464"/>
          </a:xfrm>
        </p:spPr>
        <p:txBody>
          <a:bodyPr/>
          <a:lstStyle/>
          <a:p>
            <a:fld id="{FF7D9A68-EC15-4B1F-850C-8A6CCAFA90D8}" type="slidenum">
              <a:rPr lang="en-US" smtClean="0"/>
              <a:pPr/>
              <a:t>‹#›</a:t>
            </a:fld>
            <a:endParaRPr lang="en-US"/>
          </a:p>
        </p:txBody>
      </p:sp>
      <p:grpSp>
        <p:nvGrpSpPr>
          <p:cNvPr id="33" name="Group 32">
            <a:extLst>
              <a:ext uri="{FF2B5EF4-FFF2-40B4-BE49-F238E27FC236}">
                <a16:creationId xmlns:a16="http://schemas.microsoft.com/office/drawing/2014/main" id="{80FE75E4-CDFC-8923-2079-03D3F2FC40BC}"/>
              </a:ext>
            </a:extLst>
          </p:cNvPr>
          <p:cNvGrpSpPr>
            <a:grpSpLocks noChangeAspect="1"/>
          </p:cNvGrpSpPr>
          <p:nvPr userDrawn="1"/>
        </p:nvGrpSpPr>
        <p:grpSpPr>
          <a:xfrm>
            <a:off x="8507138" y="6238683"/>
            <a:ext cx="2962386" cy="292608"/>
            <a:chOff x="8076687" y="508520"/>
            <a:chExt cx="3706698" cy="366127"/>
          </a:xfrm>
        </p:grpSpPr>
        <p:pic>
          <p:nvPicPr>
            <p:cNvPr id="34" name="object 4">
              <a:extLst>
                <a:ext uri="{FF2B5EF4-FFF2-40B4-BE49-F238E27FC236}">
                  <a16:creationId xmlns:a16="http://schemas.microsoft.com/office/drawing/2014/main" id="{02C34AA9-4613-BEDB-0DC9-DD1E8DAF7CA4}"/>
                </a:ext>
              </a:extLst>
            </p:cNvPr>
            <p:cNvPicPr/>
            <p:nvPr/>
          </p:nvPicPr>
          <p:blipFill>
            <a:blip r:embed="rId6" cstate="print"/>
            <a:stretch>
              <a:fillRect/>
            </a:stretch>
          </p:blipFill>
          <p:spPr>
            <a:xfrm>
              <a:off x="9444187" y="568546"/>
              <a:ext cx="1372592" cy="246070"/>
            </a:xfrm>
            <a:prstGeom prst="rect">
              <a:avLst/>
            </a:prstGeom>
          </p:spPr>
        </p:pic>
        <p:sp>
          <p:nvSpPr>
            <p:cNvPr id="35" name="object 7">
              <a:extLst>
                <a:ext uri="{FF2B5EF4-FFF2-40B4-BE49-F238E27FC236}">
                  <a16:creationId xmlns:a16="http://schemas.microsoft.com/office/drawing/2014/main" id="{26B1A09E-C99D-28B2-9721-F1B8D7E027BA}"/>
                </a:ext>
              </a:extLst>
            </p:cNvPr>
            <p:cNvSpPr/>
            <p:nvPr/>
          </p:nvSpPr>
          <p:spPr>
            <a:xfrm>
              <a:off x="9291578" y="508520"/>
              <a:ext cx="0" cy="366127"/>
            </a:xfrm>
            <a:custGeom>
              <a:avLst/>
              <a:gdLst/>
              <a:ahLst/>
              <a:cxnLst/>
              <a:rect l="l" t="t" r="r" b="b"/>
              <a:pathLst>
                <a:path h="603885">
                  <a:moveTo>
                    <a:pt x="0" y="0"/>
                  </a:moveTo>
                  <a:lnTo>
                    <a:pt x="0" y="603876"/>
                  </a:lnTo>
                </a:path>
              </a:pathLst>
            </a:custGeom>
            <a:ln w="8481">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Real Text Pro"/>
                <a:ea typeface="+mn-ea"/>
                <a:cs typeface="+mn-cs"/>
              </a:endParaRPr>
            </a:p>
          </p:txBody>
        </p:sp>
        <p:sp>
          <p:nvSpPr>
            <p:cNvPr id="36" name="object 10">
              <a:extLst>
                <a:ext uri="{FF2B5EF4-FFF2-40B4-BE49-F238E27FC236}">
                  <a16:creationId xmlns:a16="http://schemas.microsoft.com/office/drawing/2014/main" id="{0D259DDA-C76E-2CFC-4C1C-3EF54E16DC56}"/>
                </a:ext>
              </a:extLst>
            </p:cNvPr>
            <p:cNvSpPr/>
            <p:nvPr/>
          </p:nvSpPr>
          <p:spPr>
            <a:xfrm>
              <a:off x="10956631" y="508520"/>
              <a:ext cx="0" cy="366127"/>
            </a:xfrm>
            <a:custGeom>
              <a:avLst/>
              <a:gdLst/>
              <a:ahLst/>
              <a:cxnLst/>
              <a:rect l="l" t="t" r="r" b="b"/>
              <a:pathLst>
                <a:path h="603885">
                  <a:moveTo>
                    <a:pt x="0" y="0"/>
                  </a:moveTo>
                  <a:lnTo>
                    <a:pt x="0" y="603876"/>
                  </a:lnTo>
                </a:path>
              </a:pathLst>
            </a:custGeom>
            <a:ln w="8481">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Real Text Pro"/>
                <a:ea typeface="+mn-ea"/>
                <a:cs typeface="+mn-cs"/>
              </a:endParaRPr>
            </a:p>
          </p:txBody>
        </p:sp>
        <p:grpSp>
          <p:nvGrpSpPr>
            <p:cNvPr id="37" name="object 11">
              <a:extLst>
                <a:ext uri="{FF2B5EF4-FFF2-40B4-BE49-F238E27FC236}">
                  <a16:creationId xmlns:a16="http://schemas.microsoft.com/office/drawing/2014/main" id="{D99E6D13-532E-F02B-553B-946BC6C82F43}"/>
                </a:ext>
              </a:extLst>
            </p:cNvPr>
            <p:cNvGrpSpPr/>
            <p:nvPr/>
          </p:nvGrpSpPr>
          <p:grpSpPr>
            <a:xfrm>
              <a:off x="8076687" y="510423"/>
              <a:ext cx="483549" cy="362662"/>
              <a:chOff x="13318969" y="840809"/>
              <a:chExt cx="797560" cy="598170"/>
            </a:xfrm>
          </p:grpSpPr>
          <p:sp>
            <p:nvSpPr>
              <p:cNvPr id="49" name="object 12">
                <a:extLst>
                  <a:ext uri="{FF2B5EF4-FFF2-40B4-BE49-F238E27FC236}">
                    <a16:creationId xmlns:a16="http://schemas.microsoft.com/office/drawing/2014/main" id="{17E3D649-B040-32F7-3D73-48F70C6781AF}"/>
                  </a:ext>
                </a:extLst>
              </p:cNvPr>
              <p:cNvSpPr/>
              <p:nvPr/>
            </p:nvSpPr>
            <p:spPr>
              <a:xfrm>
                <a:off x="13318969" y="840809"/>
                <a:ext cx="797560" cy="598170"/>
              </a:xfrm>
              <a:custGeom>
                <a:avLst/>
                <a:gdLst/>
                <a:ahLst/>
                <a:cxnLst/>
                <a:rect l="l" t="t" r="r" b="b"/>
                <a:pathLst>
                  <a:path w="797559" h="598169">
                    <a:moveTo>
                      <a:pt x="137974" y="499110"/>
                    </a:moveTo>
                    <a:lnTo>
                      <a:pt x="99400" y="499110"/>
                    </a:lnTo>
                    <a:lnTo>
                      <a:pt x="99400" y="530860"/>
                    </a:lnTo>
                    <a:lnTo>
                      <a:pt x="104731" y="557530"/>
                    </a:lnTo>
                    <a:lnTo>
                      <a:pt x="119260" y="579120"/>
                    </a:lnTo>
                    <a:lnTo>
                      <a:pt x="140791" y="593090"/>
                    </a:lnTo>
                    <a:lnTo>
                      <a:pt x="167125" y="598170"/>
                    </a:lnTo>
                    <a:lnTo>
                      <a:pt x="633006" y="598170"/>
                    </a:lnTo>
                    <a:lnTo>
                      <a:pt x="659341" y="593090"/>
                    </a:lnTo>
                    <a:lnTo>
                      <a:pt x="680871" y="579120"/>
                    </a:lnTo>
                    <a:lnTo>
                      <a:pt x="693691" y="560070"/>
                    </a:lnTo>
                    <a:lnTo>
                      <a:pt x="167125" y="560070"/>
                    </a:lnTo>
                    <a:lnTo>
                      <a:pt x="155790" y="557530"/>
                    </a:lnTo>
                    <a:lnTo>
                      <a:pt x="146523" y="551180"/>
                    </a:lnTo>
                    <a:lnTo>
                      <a:pt x="140269" y="542290"/>
                    </a:lnTo>
                    <a:lnTo>
                      <a:pt x="137974" y="530860"/>
                    </a:lnTo>
                    <a:lnTo>
                      <a:pt x="137974" y="499110"/>
                    </a:lnTo>
                    <a:close/>
                  </a:path>
                  <a:path w="797559" h="598169">
                    <a:moveTo>
                      <a:pt x="700732" y="529590"/>
                    </a:moveTo>
                    <a:lnTo>
                      <a:pt x="662157" y="529590"/>
                    </a:lnTo>
                    <a:lnTo>
                      <a:pt x="662157" y="530860"/>
                    </a:lnTo>
                    <a:lnTo>
                      <a:pt x="659863" y="542290"/>
                    </a:lnTo>
                    <a:lnTo>
                      <a:pt x="653609" y="551180"/>
                    </a:lnTo>
                    <a:lnTo>
                      <a:pt x="644342" y="557530"/>
                    </a:lnTo>
                    <a:lnTo>
                      <a:pt x="633006" y="560070"/>
                    </a:lnTo>
                    <a:lnTo>
                      <a:pt x="693691" y="560070"/>
                    </a:lnTo>
                    <a:lnTo>
                      <a:pt x="695401" y="557530"/>
                    </a:lnTo>
                    <a:lnTo>
                      <a:pt x="700732" y="530860"/>
                    </a:lnTo>
                    <a:lnTo>
                      <a:pt x="700732" y="529590"/>
                    </a:lnTo>
                    <a:close/>
                  </a:path>
                  <a:path w="797559" h="598169">
                    <a:moveTo>
                      <a:pt x="424948" y="499110"/>
                    </a:moveTo>
                    <a:lnTo>
                      <a:pt x="393349" y="499110"/>
                    </a:lnTo>
                    <a:lnTo>
                      <a:pt x="468257" y="529590"/>
                    </a:lnTo>
                    <a:lnTo>
                      <a:pt x="743432" y="529590"/>
                    </a:lnTo>
                    <a:lnTo>
                      <a:pt x="746578" y="538480"/>
                    </a:lnTo>
                    <a:lnTo>
                      <a:pt x="752524" y="546100"/>
                    </a:lnTo>
                    <a:lnTo>
                      <a:pt x="760625" y="549910"/>
                    </a:lnTo>
                    <a:lnTo>
                      <a:pt x="770238" y="552450"/>
                    </a:lnTo>
                    <a:lnTo>
                      <a:pt x="780805" y="549910"/>
                    </a:lnTo>
                    <a:lnTo>
                      <a:pt x="789443" y="543560"/>
                    </a:lnTo>
                    <a:lnTo>
                      <a:pt x="792357" y="539750"/>
                    </a:lnTo>
                    <a:lnTo>
                      <a:pt x="761798" y="539750"/>
                    </a:lnTo>
                    <a:lnTo>
                      <a:pt x="754929" y="533400"/>
                    </a:lnTo>
                    <a:lnTo>
                      <a:pt x="754929" y="516890"/>
                    </a:lnTo>
                    <a:lnTo>
                      <a:pt x="470551" y="516890"/>
                    </a:lnTo>
                    <a:lnTo>
                      <a:pt x="424948" y="499110"/>
                    </a:lnTo>
                    <a:close/>
                  </a:path>
                  <a:path w="797559" h="598169">
                    <a:moveTo>
                      <a:pt x="791941" y="509270"/>
                    </a:moveTo>
                    <a:lnTo>
                      <a:pt x="778677" y="509270"/>
                    </a:lnTo>
                    <a:lnTo>
                      <a:pt x="785546" y="516890"/>
                    </a:lnTo>
                    <a:lnTo>
                      <a:pt x="785546" y="533400"/>
                    </a:lnTo>
                    <a:lnTo>
                      <a:pt x="778677" y="539750"/>
                    </a:lnTo>
                    <a:lnTo>
                      <a:pt x="792357" y="539750"/>
                    </a:lnTo>
                    <a:lnTo>
                      <a:pt x="795271" y="535940"/>
                    </a:lnTo>
                    <a:lnTo>
                      <a:pt x="797410" y="524510"/>
                    </a:lnTo>
                    <a:lnTo>
                      <a:pt x="795271" y="514350"/>
                    </a:lnTo>
                    <a:lnTo>
                      <a:pt x="791941" y="509270"/>
                    </a:lnTo>
                    <a:close/>
                  </a:path>
                  <a:path w="797559" h="598169">
                    <a:moveTo>
                      <a:pt x="27171" y="467360"/>
                    </a:moveTo>
                    <a:lnTo>
                      <a:pt x="16605" y="469900"/>
                    </a:lnTo>
                    <a:lnTo>
                      <a:pt x="7967" y="476250"/>
                    </a:lnTo>
                    <a:lnTo>
                      <a:pt x="2138" y="483870"/>
                    </a:lnTo>
                    <a:lnTo>
                      <a:pt x="0" y="495300"/>
                    </a:lnTo>
                    <a:lnTo>
                      <a:pt x="2138" y="505460"/>
                    </a:lnTo>
                    <a:lnTo>
                      <a:pt x="7967" y="514350"/>
                    </a:lnTo>
                    <a:lnTo>
                      <a:pt x="16605" y="519430"/>
                    </a:lnTo>
                    <a:lnTo>
                      <a:pt x="27171" y="521970"/>
                    </a:lnTo>
                    <a:lnTo>
                      <a:pt x="36619" y="520700"/>
                    </a:lnTo>
                    <a:lnTo>
                      <a:pt x="44625" y="515620"/>
                    </a:lnTo>
                    <a:lnTo>
                      <a:pt x="48595" y="510540"/>
                    </a:lnTo>
                    <a:lnTo>
                      <a:pt x="18732" y="510540"/>
                    </a:lnTo>
                    <a:lnTo>
                      <a:pt x="11863" y="502920"/>
                    </a:lnTo>
                    <a:lnTo>
                      <a:pt x="11863" y="486410"/>
                    </a:lnTo>
                    <a:lnTo>
                      <a:pt x="18732" y="480060"/>
                    </a:lnTo>
                    <a:lnTo>
                      <a:pt x="49792" y="480060"/>
                    </a:lnTo>
                    <a:lnTo>
                      <a:pt x="43862" y="473710"/>
                    </a:lnTo>
                    <a:lnTo>
                      <a:pt x="36150" y="468630"/>
                    </a:lnTo>
                    <a:lnTo>
                      <a:pt x="27171" y="467360"/>
                    </a:lnTo>
                    <a:close/>
                  </a:path>
                  <a:path w="797559" h="598169">
                    <a:moveTo>
                      <a:pt x="700732" y="429260"/>
                    </a:moveTo>
                    <a:lnTo>
                      <a:pt x="662157" y="429260"/>
                    </a:lnTo>
                    <a:lnTo>
                      <a:pt x="662157" y="516890"/>
                    </a:lnTo>
                    <a:lnTo>
                      <a:pt x="700732" y="516890"/>
                    </a:lnTo>
                    <a:lnTo>
                      <a:pt x="700732" y="429260"/>
                    </a:lnTo>
                    <a:close/>
                  </a:path>
                  <a:path w="797559" h="598169">
                    <a:moveTo>
                      <a:pt x="770238" y="497840"/>
                    </a:moveTo>
                    <a:lnTo>
                      <a:pt x="761427" y="499110"/>
                    </a:lnTo>
                    <a:lnTo>
                      <a:pt x="753822" y="502920"/>
                    </a:lnTo>
                    <a:lnTo>
                      <a:pt x="747909" y="509270"/>
                    </a:lnTo>
                    <a:lnTo>
                      <a:pt x="744176" y="516890"/>
                    </a:lnTo>
                    <a:lnTo>
                      <a:pt x="754929" y="516890"/>
                    </a:lnTo>
                    <a:lnTo>
                      <a:pt x="761798" y="509270"/>
                    </a:lnTo>
                    <a:lnTo>
                      <a:pt x="791941" y="509270"/>
                    </a:lnTo>
                    <a:lnTo>
                      <a:pt x="789443" y="505460"/>
                    </a:lnTo>
                    <a:lnTo>
                      <a:pt x="780805" y="500380"/>
                    </a:lnTo>
                    <a:lnTo>
                      <a:pt x="770238" y="497840"/>
                    </a:lnTo>
                    <a:close/>
                  </a:path>
                  <a:path w="797559" h="598169">
                    <a:moveTo>
                      <a:pt x="49792" y="480060"/>
                    </a:moveTo>
                    <a:lnTo>
                      <a:pt x="35611" y="480060"/>
                    </a:lnTo>
                    <a:lnTo>
                      <a:pt x="42469" y="486410"/>
                    </a:lnTo>
                    <a:lnTo>
                      <a:pt x="42469" y="502920"/>
                    </a:lnTo>
                    <a:lnTo>
                      <a:pt x="35611" y="510540"/>
                    </a:lnTo>
                    <a:lnTo>
                      <a:pt x="48595" y="510540"/>
                    </a:lnTo>
                    <a:lnTo>
                      <a:pt x="50579" y="508000"/>
                    </a:lnTo>
                    <a:lnTo>
                      <a:pt x="53872" y="500380"/>
                    </a:lnTo>
                    <a:lnTo>
                      <a:pt x="99400" y="499110"/>
                    </a:lnTo>
                    <a:lnTo>
                      <a:pt x="424948" y="499110"/>
                    </a:lnTo>
                    <a:lnTo>
                      <a:pt x="395631" y="487680"/>
                    </a:lnTo>
                    <a:lnTo>
                      <a:pt x="53422" y="487680"/>
                    </a:lnTo>
                    <a:lnTo>
                      <a:pt x="49792" y="480060"/>
                    </a:lnTo>
                    <a:close/>
                  </a:path>
                  <a:path w="797559" h="598169">
                    <a:moveTo>
                      <a:pt x="137974" y="400050"/>
                    </a:moveTo>
                    <a:lnTo>
                      <a:pt x="99400" y="400050"/>
                    </a:lnTo>
                    <a:lnTo>
                      <a:pt x="99400" y="487680"/>
                    </a:lnTo>
                    <a:lnTo>
                      <a:pt x="137974" y="487680"/>
                    </a:lnTo>
                    <a:lnTo>
                      <a:pt x="137974" y="400050"/>
                    </a:lnTo>
                    <a:close/>
                  </a:path>
                  <a:path w="797559" h="598169">
                    <a:moveTo>
                      <a:pt x="424948" y="398780"/>
                    </a:moveTo>
                    <a:lnTo>
                      <a:pt x="393349" y="398780"/>
                    </a:lnTo>
                    <a:lnTo>
                      <a:pt x="468257" y="429260"/>
                    </a:lnTo>
                    <a:lnTo>
                      <a:pt x="743432" y="429260"/>
                    </a:lnTo>
                    <a:lnTo>
                      <a:pt x="746578" y="438150"/>
                    </a:lnTo>
                    <a:lnTo>
                      <a:pt x="752524" y="445770"/>
                    </a:lnTo>
                    <a:lnTo>
                      <a:pt x="760625" y="450850"/>
                    </a:lnTo>
                    <a:lnTo>
                      <a:pt x="770238" y="452120"/>
                    </a:lnTo>
                    <a:lnTo>
                      <a:pt x="780805" y="449580"/>
                    </a:lnTo>
                    <a:lnTo>
                      <a:pt x="789443" y="444500"/>
                    </a:lnTo>
                    <a:lnTo>
                      <a:pt x="791941" y="440690"/>
                    </a:lnTo>
                    <a:lnTo>
                      <a:pt x="761798" y="440690"/>
                    </a:lnTo>
                    <a:lnTo>
                      <a:pt x="754929" y="433070"/>
                    </a:lnTo>
                    <a:lnTo>
                      <a:pt x="754929" y="416560"/>
                    </a:lnTo>
                    <a:lnTo>
                      <a:pt x="470551" y="416560"/>
                    </a:lnTo>
                    <a:lnTo>
                      <a:pt x="424948" y="398780"/>
                    </a:lnTo>
                    <a:close/>
                  </a:path>
                  <a:path w="797559" h="598169">
                    <a:moveTo>
                      <a:pt x="791941" y="408940"/>
                    </a:moveTo>
                    <a:lnTo>
                      <a:pt x="778677" y="408940"/>
                    </a:lnTo>
                    <a:lnTo>
                      <a:pt x="785546" y="416560"/>
                    </a:lnTo>
                    <a:lnTo>
                      <a:pt x="785546" y="433070"/>
                    </a:lnTo>
                    <a:lnTo>
                      <a:pt x="778677" y="440690"/>
                    </a:lnTo>
                    <a:lnTo>
                      <a:pt x="791941" y="440690"/>
                    </a:lnTo>
                    <a:lnTo>
                      <a:pt x="795271" y="435610"/>
                    </a:lnTo>
                    <a:lnTo>
                      <a:pt x="797410" y="424180"/>
                    </a:lnTo>
                    <a:lnTo>
                      <a:pt x="795271" y="414020"/>
                    </a:lnTo>
                    <a:lnTo>
                      <a:pt x="791941" y="408940"/>
                    </a:lnTo>
                    <a:close/>
                  </a:path>
                  <a:path w="797559" h="598169">
                    <a:moveTo>
                      <a:pt x="27171" y="367030"/>
                    </a:moveTo>
                    <a:lnTo>
                      <a:pt x="16605" y="369570"/>
                    </a:lnTo>
                    <a:lnTo>
                      <a:pt x="7967" y="375920"/>
                    </a:lnTo>
                    <a:lnTo>
                      <a:pt x="2138" y="383540"/>
                    </a:lnTo>
                    <a:lnTo>
                      <a:pt x="0" y="394970"/>
                    </a:lnTo>
                    <a:lnTo>
                      <a:pt x="2138" y="405130"/>
                    </a:lnTo>
                    <a:lnTo>
                      <a:pt x="7967" y="414020"/>
                    </a:lnTo>
                    <a:lnTo>
                      <a:pt x="16605" y="419100"/>
                    </a:lnTo>
                    <a:lnTo>
                      <a:pt x="27171" y="421640"/>
                    </a:lnTo>
                    <a:lnTo>
                      <a:pt x="36619" y="420370"/>
                    </a:lnTo>
                    <a:lnTo>
                      <a:pt x="44625" y="415290"/>
                    </a:lnTo>
                    <a:lnTo>
                      <a:pt x="49388" y="410210"/>
                    </a:lnTo>
                    <a:lnTo>
                      <a:pt x="18732" y="410210"/>
                    </a:lnTo>
                    <a:lnTo>
                      <a:pt x="11863" y="402590"/>
                    </a:lnTo>
                    <a:lnTo>
                      <a:pt x="11863" y="386080"/>
                    </a:lnTo>
                    <a:lnTo>
                      <a:pt x="18732" y="379730"/>
                    </a:lnTo>
                    <a:lnTo>
                      <a:pt x="49792" y="379730"/>
                    </a:lnTo>
                    <a:lnTo>
                      <a:pt x="43862" y="373380"/>
                    </a:lnTo>
                    <a:lnTo>
                      <a:pt x="36150" y="369570"/>
                    </a:lnTo>
                    <a:lnTo>
                      <a:pt x="27171" y="367030"/>
                    </a:lnTo>
                    <a:close/>
                  </a:path>
                  <a:path w="797559" h="598169">
                    <a:moveTo>
                      <a:pt x="700732" y="330200"/>
                    </a:moveTo>
                    <a:lnTo>
                      <a:pt x="662157" y="330200"/>
                    </a:lnTo>
                    <a:lnTo>
                      <a:pt x="662157" y="416560"/>
                    </a:lnTo>
                    <a:lnTo>
                      <a:pt x="700732" y="416560"/>
                    </a:lnTo>
                    <a:lnTo>
                      <a:pt x="700732" y="330200"/>
                    </a:lnTo>
                    <a:close/>
                  </a:path>
                  <a:path w="797559" h="598169">
                    <a:moveTo>
                      <a:pt x="770238" y="397510"/>
                    </a:moveTo>
                    <a:lnTo>
                      <a:pt x="761427" y="398780"/>
                    </a:lnTo>
                    <a:lnTo>
                      <a:pt x="753822" y="402590"/>
                    </a:lnTo>
                    <a:lnTo>
                      <a:pt x="747909" y="408940"/>
                    </a:lnTo>
                    <a:lnTo>
                      <a:pt x="744176" y="416560"/>
                    </a:lnTo>
                    <a:lnTo>
                      <a:pt x="754929" y="416560"/>
                    </a:lnTo>
                    <a:lnTo>
                      <a:pt x="761798" y="408940"/>
                    </a:lnTo>
                    <a:lnTo>
                      <a:pt x="791941" y="408940"/>
                    </a:lnTo>
                    <a:lnTo>
                      <a:pt x="789443" y="405130"/>
                    </a:lnTo>
                    <a:lnTo>
                      <a:pt x="780805" y="400050"/>
                    </a:lnTo>
                    <a:lnTo>
                      <a:pt x="770238" y="397510"/>
                    </a:lnTo>
                    <a:close/>
                  </a:path>
                  <a:path w="797559" h="598169">
                    <a:moveTo>
                      <a:pt x="49792" y="379730"/>
                    </a:moveTo>
                    <a:lnTo>
                      <a:pt x="35611" y="379730"/>
                    </a:lnTo>
                    <a:lnTo>
                      <a:pt x="42469" y="386080"/>
                    </a:lnTo>
                    <a:lnTo>
                      <a:pt x="42469" y="402590"/>
                    </a:lnTo>
                    <a:lnTo>
                      <a:pt x="35611" y="410210"/>
                    </a:lnTo>
                    <a:lnTo>
                      <a:pt x="49388" y="410210"/>
                    </a:lnTo>
                    <a:lnTo>
                      <a:pt x="50579" y="408940"/>
                    </a:lnTo>
                    <a:lnTo>
                      <a:pt x="53872" y="400050"/>
                    </a:lnTo>
                    <a:lnTo>
                      <a:pt x="137974" y="400050"/>
                    </a:lnTo>
                    <a:lnTo>
                      <a:pt x="424948" y="398780"/>
                    </a:lnTo>
                    <a:lnTo>
                      <a:pt x="395631" y="387350"/>
                    </a:lnTo>
                    <a:lnTo>
                      <a:pt x="53422" y="387350"/>
                    </a:lnTo>
                    <a:lnTo>
                      <a:pt x="49792" y="379730"/>
                    </a:lnTo>
                    <a:close/>
                  </a:path>
                  <a:path w="797559" h="598169">
                    <a:moveTo>
                      <a:pt x="137974" y="300990"/>
                    </a:moveTo>
                    <a:lnTo>
                      <a:pt x="99400" y="300990"/>
                    </a:lnTo>
                    <a:lnTo>
                      <a:pt x="99400" y="387350"/>
                    </a:lnTo>
                    <a:lnTo>
                      <a:pt x="137974" y="387350"/>
                    </a:lnTo>
                    <a:lnTo>
                      <a:pt x="137974" y="300990"/>
                    </a:lnTo>
                    <a:close/>
                  </a:path>
                  <a:path w="797559" h="598169">
                    <a:moveTo>
                      <a:pt x="425540" y="300990"/>
                    </a:moveTo>
                    <a:lnTo>
                      <a:pt x="393349" y="300990"/>
                    </a:lnTo>
                    <a:lnTo>
                      <a:pt x="468257" y="330200"/>
                    </a:lnTo>
                    <a:lnTo>
                      <a:pt x="743432" y="330200"/>
                    </a:lnTo>
                    <a:lnTo>
                      <a:pt x="746578" y="339090"/>
                    </a:lnTo>
                    <a:lnTo>
                      <a:pt x="752524" y="346710"/>
                    </a:lnTo>
                    <a:lnTo>
                      <a:pt x="760625" y="351790"/>
                    </a:lnTo>
                    <a:lnTo>
                      <a:pt x="770238" y="353060"/>
                    </a:lnTo>
                    <a:lnTo>
                      <a:pt x="780805" y="351790"/>
                    </a:lnTo>
                    <a:lnTo>
                      <a:pt x="789443" y="345440"/>
                    </a:lnTo>
                    <a:lnTo>
                      <a:pt x="791941" y="341630"/>
                    </a:lnTo>
                    <a:lnTo>
                      <a:pt x="761798" y="341630"/>
                    </a:lnTo>
                    <a:lnTo>
                      <a:pt x="754929" y="335280"/>
                    </a:lnTo>
                    <a:lnTo>
                      <a:pt x="754929" y="318770"/>
                    </a:lnTo>
                    <a:lnTo>
                      <a:pt x="470551" y="318770"/>
                    </a:lnTo>
                    <a:lnTo>
                      <a:pt x="425540" y="300990"/>
                    </a:lnTo>
                    <a:close/>
                  </a:path>
                  <a:path w="797559" h="598169">
                    <a:moveTo>
                      <a:pt x="791941" y="311150"/>
                    </a:moveTo>
                    <a:lnTo>
                      <a:pt x="778677" y="311150"/>
                    </a:lnTo>
                    <a:lnTo>
                      <a:pt x="785546" y="317500"/>
                    </a:lnTo>
                    <a:lnTo>
                      <a:pt x="785546" y="335280"/>
                    </a:lnTo>
                    <a:lnTo>
                      <a:pt x="778677" y="341630"/>
                    </a:lnTo>
                    <a:lnTo>
                      <a:pt x="791941" y="341630"/>
                    </a:lnTo>
                    <a:lnTo>
                      <a:pt x="795271" y="336550"/>
                    </a:lnTo>
                    <a:lnTo>
                      <a:pt x="797410" y="326390"/>
                    </a:lnTo>
                    <a:lnTo>
                      <a:pt x="795271" y="316230"/>
                    </a:lnTo>
                    <a:lnTo>
                      <a:pt x="791941" y="311150"/>
                    </a:lnTo>
                    <a:close/>
                  </a:path>
                  <a:path w="797559" h="598169">
                    <a:moveTo>
                      <a:pt x="27171" y="269240"/>
                    </a:moveTo>
                    <a:lnTo>
                      <a:pt x="16605" y="270510"/>
                    </a:lnTo>
                    <a:lnTo>
                      <a:pt x="7967" y="276860"/>
                    </a:lnTo>
                    <a:lnTo>
                      <a:pt x="2138" y="285750"/>
                    </a:lnTo>
                    <a:lnTo>
                      <a:pt x="0" y="295910"/>
                    </a:lnTo>
                    <a:lnTo>
                      <a:pt x="2138" y="306070"/>
                    </a:lnTo>
                    <a:lnTo>
                      <a:pt x="7967" y="314960"/>
                    </a:lnTo>
                    <a:lnTo>
                      <a:pt x="16605" y="321310"/>
                    </a:lnTo>
                    <a:lnTo>
                      <a:pt x="27171" y="323850"/>
                    </a:lnTo>
                    <a:lnTo>
                      <a:pt x="36619" y="321310"/>
                    </a:lnTo>
                    <a:lnTo>
                      <a:pt x="44625" y="317500"/>
                    </a:lnTo>
                    <a:lnTo>
                      <a:pt x="49587" y="311150"/>
                    </a:lnTo>
                    <a:lnTo>
                      <a:pt x="18732" y="311150"/>
                    </a:lnTo>
                    <a:lnTo>
                      <a:pt x="11863" y="304800"/>
                    </a:lnTo>
                    <a:lnTo>
                      <a:pt x="11863" y="288290"/>
                    </a:lnTo>
                    <a:lnTo>
                      <a:pt x="18732" y="280670"/>
                    </a:lnTo>
                    <a:lnTo>
                      <a:pt x="49792" y="280670"/>
                    </a:lnTo>
                    <a:lnTo>
                      <a:pt x="43862" y="274320"/>
                    </a:lnTo>
                    <a:lnTo>
                      <a:pt x="36150" y="270510"/>
                    </a:lnTo>
                    <a:lnTo>
                      <a:pt x="27171" y="269240"/>
                    </a:lnTo>
                    <a:close/>
                  </a:path>
                  <a:path w="797559" h="598169">
                    <a:moveTo>
                      <a:pt x="700732" y="231140"/>
                    </a:moveTo>
                    <a:lnTo>
                      <a:pt x="662157" y="231140"/>
                    </a:lnTo>
                    <a:lnTo>
                      <a:pt x="662157" y="318770"/>
                    </a:lnTo>
                    <a:lnTo>
                      <a:pt x="700732" y="318770"/>
                    </a:lnTo>
                    <a:lnTo>
                      <a:pt x="700732" y="231140"/>
                    </a:lnTo>
                    <a:close/>
                  </a:path>
                  <a:path w="797559" h="598169">
                    <a:moveTo>
                      <a:pt x="770238" y="298450"/>
                    </a:moveTo>
                    <a:lnTo>
                      <a:pt x="761427" y="300990"/>
                    </a:lnTo>
                    <a:lnTo>
                      <a:pt x="753822" y="304800"/>
                    </a:lnTo>
                    <a:lnTo>
                      <a:pt x="747909" y="311150"/>
                    </a:lnTo>
                    <a:lnTo>
                      <a:pt x="744176" y="318770"/>
                    </a:lnTo>
                    <a:lnTo>
                      <a:pt x="754929" y="318770"/>
                    </a:lnTo>
                    <a:lnTo>
                      <a:pt x="754929" y="317500"/>
                    </a:lnTo>
                    <a:lnTo>
                      <a:pt x="761798" y="311150"/>
                    </a:lnTo>
                    <a:lnTo>
                      <a:pt x="791941" y="311150"/>
                    </a:lnTo>
                    <a:lnTo>
                      <a:pt x="789443" y="307340"/>
                    </a:lnTo>
                    <a:lnTo>
                      <a:pt x="780805" y="300990"/>
                    </a:lnTo>
                    <a:lnTo>
                      <a:pt x="770238" y="298450"/>
                    </a:lnTo>
                    <a:close/>
                  </a:path>
                  <a:path w="797559" h="598169">
                    <a:moveTo>
                      <a:pt x="49792" y="280670"/>
                    </a:moveTo>
                    <a:lnTo>
                      <a:pt x="35611" y="280670"/>
                    </a:lnTo>
                    <a:lnTo>
                      <a:pt x="42469" y="288290"/>
                    </a:lnTo>
                    <a:lnTo>
                      <a:pt x="42469" y="304800"/>
                    </a:lnTo>
                    <a:lnTo>
                      <a:pt x="35611" y="311150"/>
                    </a:lnTo>
                    <a:lnTo>
                      <a:pt x="49587" y="311150"/>
                    </a:lnTo>
                    <a:lnTo>
                      <a:pt x="50579" y="309880"/>
                    </a:lnTo>
                    <a:lnTo>
                      <a:pt x="53872" y="300990"/>
                    </a:lnTo>
                    <a:lnTo>
                      <a:pt x="425540" y="300990"/>
                    </a:lnTo>
                    <a:lnTo>
                      <a:pt x="399820" y="290830"/>
                    </a:lnTo>
                    <a:lnTo>
                      <a:pt x="399820" y="289560"/>
                    </a:lnTo>
                    <a:lnTo>
                      <a:pt x="53422" y="289560"/>
                    </a:lnTo>
                    <a:lnTo>
                      <a:pt x="49792" y="280670"/>
                    </a:lnTo>
                    <a:close/>
                  </a:path>
                  <a:path w="797559" h="598169">
                    <a:moveTo>
                      <a:pt x="137974" y="200660"/>
                    </a:moveTo>
                    <a:lnTo>
                      <a:pt x="99400" y="200660"/>
                    </a:lnTo>
                    <a:lnTo>
                      <a:pt x="99400" y="289560"/>
                    </a:lnTo>
                    <a:lnTo>
                      <a:pt x="399820" y="289560"/>
                    </a:lnTo>
                    <a:lnTo>
                      <a:pt x="399820" y="285750"/>
                    </a:lnTo>
                    <a:lnTo>
                      <a:pt x="137974" y="285750"/>
                    </a:lnTo>
                    <a:lnTo>
                      <a:pt x="137974" y="200660"/>
                    </a:lnTo>
                    <a:close/>
                  </a:path>
                  <a:path w="797559" h="598169">
                    <a:moveTo>
                      <a:pt x="399820" y="38100"/>
                    </a:moveTo>
                    <a:lnTo>
                      <a:pt x="387956" y="38100"/>
                    </a:lnTo>
                    <a:lnTo>
                      <a:pt x="387956" y="285750"/>
                    </a:lnTo>
                    <a:lnTo>
                      <a:pt x="399820" y="285750"/>
                    </a:lnTo>
                    <a:lnTo>
                      <a:pt x="399820" y="203200"/>
                    </a:lnTo>
                    <a:lnTo>
                      <a:pt x="431970" y="203200"/>
                    </a:lnTo>
                    <a:lnTo>
                      <a:pt x="399820" y="190500"/>
                    </a:lnTo>
                    <a:lnTo>
                      <a:pt x="399820" y="102870"/>
                    </a:lnTo>
                    <a:lnTo>
                      <a:pt x="431970" y="102870"/>
                    </a:lnTo>
                    <a:lnTo>
                      <a:pt x="399820" y="90170"/>
                    </a:lnTo>
                    <a:lnTo>
                      <a:pt x="399820" y="38100"/>
                    </a:lnTo>
                    <a:close/>
                  </a:path>
                  <a:path w="797559" h="598169">
                    <a:moveTo>
                      <a:pt x="431970" y="203200"/>
                    </a:moveTo>
                    <a:lnTo>
                      <a:pt x="399820" y="203200"/>
                    </a:lnTo>
                    <a:lnTo>
                      <a:pt x="468257" y="231140"/>
                    </a:lnTo>
                    <a:lnTo>
                      <a:pt x="743432" y="231140"/>
                    </a:lnTo>
                    <a:lnTo>
                      <a:pt x="746578" y="240030"/>
                    </a:lnTo>
                    <a:lnTo>
                      <a:pt x="752524" y="247650"/>
                    </a:lnTo>
                    <a:lnTo>
                      <a:pt x="760625" y="251460"/>
                    </a:lnTo>
                    <a:lnTo>
                      <a:pt x="770238" y="254000"/>
                    </a:lnTo>
                    <a:lnTo>
                      <a:pt x="780805" y="251460"/>
                    </a:lnTo>
                    <a:lnTo>
                      <a:pt x="789443" y="246380"/>
                    </a:lnTo>
                    <a:lnTo>
                      <a:pt x="792773" y="241300"/>
                    </a:lnTo>
                    <a:lnTo>
                      <a:pt x="761798" y="241300"/>
                    </a:lnTo>
                    <a:lnTo>
                      <a:pt x="754929" y="234950"/>
                    </a:lnTo>
                    <a:lnTo>
                      <a:pt x="754929" y="218440"/>
                    </a:lnTo>
                    <a:lnTo>
                      <a:pt x="470551" y="218440"/>
                    </a:lnTo>
                    <a:lnTo>
                      <a:pt x="431970" y="203200"/>
                    </a:lnTo>
                    <a:close/>
                  </a:path>
                  <a:path w="797559" h="598169">
                    <a:moveTo>
                      <a:pt x="791941" y="210820"/>
                    </a:moveTo>
                    <a:lnTo>
                      <a:pt x="778677" y="210820"/>
                    </a:lnTo>
                    <a:lnTo>
                      <a:pt x="785546" y="218440"/>
                    </a:lnTo>
                    <a:lnTo>
                      <a:pt x="785546" y="234950"/>
                    </a:lnTo>
                    <a:lnTo>
                      <a:pt x="778677" y="241300"/>
                    </a:lnTo>
                    <a:lnTo>
                      <a:pt x="792773" y="241300"/>
                    </a:lnTo>
                    <a:lnTo>
                      <a:pt x="795271" y="237490"/>
                    </a:lnTo>
                    <a:lnTo>
                      <a:pt x="797410" y="226060"/>
                    </a:lnTo>
                    <a:lnTo>
                      <a:pt x="795271" y="215900"/>
                    </a:lnTo>
                    <a:lnTo>
                      <a:pt x="791941" y="210820"/>
                    </a:lnTo>
                    <a:close/>
                  </a:path>
                  <a:path w="797559" h="598169">
                    <a:moveTo>
                      <a:pt x="27171" y="168910"/>
                    </a:moveTo>
                    <a:lnTo>
                      <a:pt x="16605" y="171450"/>
                    </a:lnTo>
                    <a:lnTo>
                      <a:pt x="7967" y="177800"/>
                    </a:lnTo>
                    <a:lnTo>
                      <a:pt x="2138" y="185420"/>
                    </a:lnTo>
                    <a:lnTo>
                      <a:pt x="0" y="196850"/>
                    </a:lnTo>
                    <a:lnTo>
                      <a:pt x="2138" y="207010"/>
                    </a:lnTo>
                    <a:lnTo>
                      <a:pt x="7967" y="215900"/>
                    </a:lnTo>
                    <a:lnTo>
                      <a:pt x="16605" y="220980"/>
                    </a:lnTo>
                    <a:lnTo>
                      <a:pt x="27171" y="223520"/>
                    </a:lnTo>
                    <a:lnTo>
                      <a:pt x="36621" y="222250"/>
                    </a:lnTo>
                    <a:lnTo>
                      <a:pt x="44629" y="217170"/>
                    </a:lnTo>
                    <a:lnTo>
                      <a:pt x="49393" y="212090"/>
                    </a:lnTo>
                    <a:lnTo>
                      <a:pt x="18732" y="212090"/>
                    </a:lnTo>
                    <a:lnTo>
                      <a:pt x="11863" y="204470"/>
                    </a:lnTo>
                    <a:lnTo>
                      <a:pt x="11863" y="187960"/>
                    </a:lnTo>
                    <a:lnTo>
                      <a:pt x="18732" y="181610"/>
                    </a:lnTo>
                    <a:lnTo>
                      <a:pt x="49792" y="181610"/>
                    </a:lnTo>
                    <a:lnTo>
                      <a:pt x="43862" y="175260"/>
                    </a:lnTo>
                    <a:lnTo>
                      <a:pt x="36150" y="171450"/>
                    </a:lnTo>
                    <a:lnTo>
                      <a:pt x="27171" y="168910"/>
                    </a:lnTo>
                    <a:close/>
                  </a:path>
                  <a:path w="797559" h="598169">
                    <a:moveTo>
                      <a:pt x="700732" y="129540"/>
                    </a:moveTo>
                    <a:lnTo>
                      <a:pt x="662157" y="129540"/>
                    </a:lnTo>
                    <a:lnTo>
                      <a:pt x="662157" y="218440"/>
                    </a:lnTo>
                    <a:lnTo>
                      <a:pt x="700732" y="218440"/>
                    </a:lnTo>
                    <a:lnTo>
                      <a:pt x="700732" y="129540"/>
                    </a:lnTo>
                    <a:close/>
                  </a:path>
                  <a:path w="797559" h="598169">
                    <a:moveTo>
                      <a:pt x="770238" y="199390"/>
                    </a:moveTo>
                    <a:lnTo>
                      <a:pt x="761427" y="200660"/>
                    </a:lnTo>
                    <a:lnTo>
                      <a:pt x="753822" y="204470"/>
                    </a:lnTo>
                    <a:lnTo>
                      <a:pt x="747909" y="210820"/>
                    </a:lnTo>
                    <a:lnTo>
                      <a:pt x="744176" y="218440"/>
                    </a:lnTo>
                    <a:lnTo>
                      <a:pt x="754929" y="218440"/>
                    </a:lnTo>
                    <a:lnTo>
                      <a:pt x="761798" y="210820"/>
                    </a:lnTo>
                    <a:lnTo>
                      <a:pt x="791941" y="210820"/>
                    </a:lnTo>
                    <a:lnTo>
                      <a:pt x="789443" y="207010"/>
                    </a:lnTo>
                    <a:lnTo>
                      <a:pt x="780805" y="201930"/>
                    </a:lnTo>
                    <a:lnTo>
                      <a:pt x="770238" y="199390"/>
                    </a:lnTo>
                    <a:close/>
                  </a:path>
                  <a:path w="797559" h="598169">
                    <a:moveTo>
                      <a:pt x="49792" y="181610"/>
                    </a:moveTo>
                    <a:lnTo>
                      <a:pt x="35611" y="181610"/>
                    </a:lnTo>
                    <a:lnTo>
                      <a:pt x="42469" y="187960"/>
                    </a:lnTo>
                    <a:lnTo>
                      <a:pt x="42469" y="204470"/>
                    </a:lnTo>
                    <a:lnTo>
                      <a:pt x="35611" y="212090"/>
                    </a:lnTo>
                    <a:lnTo>
                      <a:pt x="49393" y="212090"/>
                    </a:lnTo>
                    <a:lnTo>
                      <a:pt x="50584" y="210820"/>
                    </a:lnTo>
                    <a:lnTo>
                      <a:pt x="53872" y="201930"/>
                    </a:lnTo>
                    <a:lnTo>
                      <a:pt x="99400" y="200660"/>
                    </a:lnTo>
                    <a:lnTo>
                      <a:pt x="137974" y="200660"/>
                    </a:lnTo>
                    <a:lnTo>
                      <a:pt x="137974" y="189230"/>
                    </a:lnTo>
                    <a:lnTo>
                      <a:pt x="53422" y="189230"/>
                    </a:lnTo>
                    <a:lnTo>
                      <a:pt x="49792" y="181610"/>
                    </a:lnTo>
                    <a:close/>
                  </a:path>
                  <a:path w="797559" h="598169">
                    <a:moveTo>
                      <a:pt x="137974" y="100330"/>
                    </a:moveTo>
                    <a:lnTo>
                      <a:pt x="99400" y="100330"/>
                    </a:lnTo>
                    <a:lnTo>
                      <a:pt x="99400" y="189230"/>
                    </a:lnTo>
                    <a:lnTo>
                      <a:pt x="137974" y="189230"/>
                    </a:lnTo>
                    <a:lnTo>
                      <a:pt x="137974" y="100330"/>
                    </a:lnTo>
                    <a:close/>
                  </a:path>
                  <a:path w="797559" h="598169">
                    <a:moveTo>
                      <a:pt x="431970" y="102870"/>
                    </a:moveTo>
                    <a:lnTo>
                      <a:pt x="399820" y="102870"/>
                    </a:lnTo>
                    <a:lnTo>
                      <a:pt x="468257" y="129540"/>
                    </a:lnTo>
                    <a:lnTo>
                      <a:pt x="743432" y="129540"/>
                    </a:lnTo>
                    <a:lnTo>
                      <a:pt x="746578" y="138430"/>
                    </a:lnTo>
                    <a:lnTo>
                      <a:pt x="752524" y="146050"/>
                    </a:lnTo>
                    <a:lnTo>
                      <a:pt x="760625" y="151130"/>
                    </a:lnTo>
                    <a:lnTo>
                      <a:pt x="770238" y="152400"/>
                    </a:lnTo>
                    <a:lnTo>
                      <a:pt x="780805" y="151130"/>
                    </a:lnTo>
                    <a:lnTo>
                      <a:pt x="789443" y="144780"/>
                    </a:lnTo>
                    <a:lnTo>
                      <a:pt x="791941" y="140970"/>
                    </a:lnTo>
                    <a:lnTo>
                      <a:pt x="761798" y="140970"/>
                    </a:lnTo>
                    <a:lnTo>
                      <a:pt x="754929" y="134620"/>
                    </a:lnTo>
                    <a:lnTo>
                      <a:pt x="754929" y="118110"/>
                    </a:lnTo>
                    <a:lnTo>
                      <a:pt x="470551" y="118110"/>
                    </a:lnTo>
                    <a:lnTo>
                      <a:pt x="431970" y="102870"/>
                    </a:lnTo>
                    <a:close/>
                  </a:path>
                  <a:path w="797559" h="598169">
                    <a:moveTo>
                      <a:pt x="791941" y="110490"/>
                    </a:moveTo>
                    <a:lnTo>
                      <a:pt x="778677" y="110490"/>
                    </a:lnTo>
                    <a:lnTo>
                      <a:pt x="785546" y="116840"/>
                    </a:lnTo>
                    <a:lnTo>
                      <a:pt x="785546" y="134620"/>
                    </a:lnTo>
                    <a:lnTo>
                      <a:pt x="778677" y="140970"/>
                    </a:lnTo>
                    <a:lnTo>
                      <a:pt x="791941" y="140970"/>
                    </a:lnTo>
                    <a:lnTo>
                      <a:pt x="795271" y="135890"/>
                    </a:lnTo>
                    <a:lnTo>
                      <a:pt x="797410" y="125730"/>
                    </a:lnTo>
                    <a:lnTo>
                      <a:pt x="795271" y="115570"/>
                    </a:lnTo>
                    <a:lnTo>
                      <a:pt x="791941" y="110490"/>
                    </a:lnTo>
                    <a:close/>
                  </a:path>
                  <a:path w="797559" h="598169">
                    <a:moveTo>
                      <a:pt x="27171" y="68580"/>
                    </a:moveTo>
                    <a:lnTo>
                      <a:pt x="16605" y="69850"/>
                    </a:lnTo>
                    <a:lnTo>
                      <a:pt x="7967" y="76200"/>
                    </a:lnTo>
                    <a:lnTo>
                      <a:pt x="2138" y="85090"/>
                    </a:lnTo>
                    <a:lnTo>
                      <a:pt x="0" y="95250"/>
                    </a:lnTo>
                    <a:lnTo>
                      <a:pt x="2138" y="105410"/>
                    </a:lnTo>
                    <a:lnTo>
                      <a:pt x="7967" y="114300"/>
                    </a:lnTo>
                    <a:lnTo>
                      <a:pt x="16605" y="120650"/>
                    </a:lnTo>
                    <a:lnTo>
                      <a:pt x="27171" y="123190"/>
                    </a:lnTo>
                    <a:lnTo>
                      <a:pt x="36621" y="120650"/>
                    </a:lnTo>
                    <a:lnTo>
                      <a:pt x="44629" y="116840"/>
                    </a:lnTo>
                    <a:lnTo>
                      <a:pt x="49591" y="110490"/>
                    </a:lnTo>
                    <a:lnTo>
                      <a:pt x="18732" y="110490"/>
                    </a:lnTo>
                    <a:lnTo>
                      <a:pt x="11863" y="104140"/>
                    </a:lnTo>
                    <a:lnTo>
                      <a:pt x="11863" y="87630"/>
                    </a:lnTo>
                    <a:lnTo>
                      <a:pt x="18732" y="80010"/>
                    </a:lnTo>
                    <a:lnTo>
                      <a:pt x="49792" y="80010"/>
                    </a:lnTo>
                    <a:lnTo>
                      <a:pt x="43862" y="73660"/>
                    </a:lnTo>
                    <a:lnTo>
                      <a:pt x="36150" y="69850"/>
                    </a:lnTo>
                    <a:lnTo>
                      <a:pt x="27171" y="68580"/>
                    </a:lnTo>
                    <a:close/>
                  </a:path>
                  <a:path w="797559" h="598169">
                    <a:moveTo>
                      <a:pt x="692837" y="38100"/>
                    </a:moveTo>
                    <a:lnTo>
                      <a:pt x="633006" y="38100"/>
                    </a:lnTo>
                    <a:lnTo>
                      <a:pt x="644342" y="40640"/>
                    </a:lnTo>
                    <a:lnTo>
                      <a:pt x="653609" y="46990"/>
                    </a:lnTo>
                    <a:lnTo>
                      <a:pt x="659863" y="55880"/>
                    </a:lnTo>
                    <a:lnTo>
                      <a:pt x="662157" y="67310"/>
                    </a:lnTo>
                    <a:lnTo>
                      <a:pt x="662157" y="118110"/>
                    </a:lnTo>
                    <a:lnTo>
                      <a:pt x="700732" y="118110"/>
                    </a:lnTo>
                    <a:lnTo>
                      <a:pt x="700732" y="67310"/>
                    </a:lnTo>
                    <a:lnTo>
                      <a:pt x="695401" y="41910"/>
                    </a:lnTo>
                    <a:lnTo>
                      <a:pt x="692837" y="38100"/>
                    </a:lnTo>
                    <a:close/>
                  </a:path>
                  <a:path w="797559" h="598169">
                    <a:moveTo>
                      <a:pt x="770238" y="97790"/>
                    </a:moveTo>
                    <a:lnTo>
                      <a:pt x="761427" y="100330"/>
                    </a:lnTo>
                    <a:lnTo>
                      <a:pt x="753822" y="104140"/>
                    </a:lnTo>
                    <a:lnTo>
                      <a:pt x="747909" y="110490"/>
                    </a:lnTo>
                    <a:lnTo>
                      <a:pt x="744176" y="118110"/>
                    </a:lnTo>
                    <a:lnTo>
                      <a:pt x="754929" y="118110"/>
                    </a:lnTo>
                    <a:lnTo>
                      <a:pt x="754929" y="116840"/>
                    </a:lnTo>
                    <a:lnTo>
                      <a:pt x="761798" y="110490"/>
                    </a:lnTo>
                    <a:lnTo>
                      <a:pt x="791941" y="110490"/>
                    </a:lnTo>
                    <a:lnTo>
                      <a:pt x="789443" y="106680"/>
                    </a:lnTo>
                    <a:lnTo>
                      <a:pt x="780805" y="100330"/>
                    </a:lnTo>
                    <a:lnTo>
                      <a:pt x="770238" y="97790"/>
                    </a:lnTo>
                    <a:close/>
                  </a:path>
                  <a:path w="797559" h="598169">
                    <a:moveTo>
                      <a:pt x="49792" y="80010"/>
                    </a:moveTo>
                    <a:lnTo>
                      <a:pt x="35611" y="80010"/>
                    </a:lnTo>
                    <a:lnTo>
                      <a:pt x="42469" y="87630"/>
                    </a:lnTo>
                    <a:lnTo>
                      <a:pt x="42469" y="104140"/>
                    </a:lnTo>
                    <a:lnTo>
                      <a:pt x="35611" y="110490"/>
                    </a:lnTo>
                    <a:lnTo>
                      <a:pt x="49591" y="110490"/>
                    </a:lnTo>
                    <a:lnTo>
                      <a:pt x="50584" y="109220"/>
                    </a:lnTo>
                    <a:lnTo>
                      <a:pt x="53872" y="100330"/>
                    </a:lnTo>
                    <a:lnTo>
                      <a:pt x="137974" y="100330"/>
                    </a:lnTo>
                    <a:lnTo>
                      <a:pt x="137974" y="88900"/>
                    </a:lnTo>
                    <a:lnTo>
                      <a:pt x="53422" y="88900"/>
                    </a:lnTo>
                    <a:lnTo>
                      <a:pt x="49792" y="80010"/>
                    </a:lnTo>
                    <a:close/>
                  </a:path>
                  <a:path w="797559" h="598169">
                    <a:moveTo>
                      <a:pt x="633006" y="0"/>
                    </a:moveTo>
                    <a:lnTo>
                      <a:pt x="167125" y="0"/>
                    </a:lnTo>
                    <a:lnTo>
                      <a:pt x="140791" y="5080"/>
                    </a:lnTo>
                    <a:lnTo>
                      <a:pt x="119260" y="20320"/>
                    </a:lnTo>
                    <a:lnTo>
                      <a:pt x="104731" y="41910"/>
                    </a:lnTo>
                    <a:lnTo>
                      <a:pt x="99400" y="67310"/>
                    </a:lnTo>
                    <a:lnTo>
                      <a:pt x="99400" y="87630"/>
                    </a:lnTo>
                    <a:lnTo>
                      <a:pt x="53422" y="88900"/>
                    </a:lnTo>
                    <a:lnTo>
                      <a:pt x="137974" y="88900"/>
                    </a:lnTo>
                    <a:lnTo>
                      <a:pt x="137974" y="67310"/>
                    </a:lnTo>
                    <a:lnTo>
                      <a:pt x="140269" y="55880"/>
                    </a:lnTo>
                    <a:lnTo>
                      <a:pt x="146523" y="46990"/>
                    </a:lnTo>
                    <a:lnTo>
                      <a:pt x="155790" y="40640"/>
                    </a:lnTo>
                    <a:lnTo>
                      <a:pt x="167125" y="38100"/>
                    </a:lnTo>
                    <a:lnTo>
                      <a:pt x="692837" y="38100"/>
                    </a:lnTo>
                    <a:lnTo>
                      <a:pt x="680871" y="20320"/>
                    </a:lnTo>
                    <a:lnTo>
                      <a:pt x="659341" y="5080"/>
                    </a:lnTo>
                    <a:lnTo>
                      <a:pt x="633006"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Real Text Pro"/>
                  <a:ea typeface="+mn-ea"/>
                  <a:cs typeface="+mn-cs"/>
                </a:endParaRPr>
              </a:p>
            </p:txBody>
          </p:sp>
          <p:pic>
            <p:nvPicPr>
              <p:cNvPr id="50" name="object 13">
                <a:extLst>
                  <a:ext uri="{FF2B5EF4-FFF2-40B4-BE49-F238E27FC236}">
                    <a16:creationId xmlns:a16="http://schemas.microsoft.com/office/drawing/2014/main" id="{2B9627FD-76F0-56EC-EC90-326DCDF2D1A5}"/>
                  </a:ext>
                </a:extLst>
              </p:cNvPr>
              <p:cNvPicPr/>
              <p:nvPr/>
            </p:nvPicPr>
            <p:blipFill>
              <a:blip r:embed="rId7" cstate="print"/>
              <a:stretch>
                <a:fillRect/>
              </a:stretch>
            </p:blipFill>
            <p:spPr>
              <a:xfrm>
                <a:off x="13479218" y="899211"/>
                <a:ext cx="206204" cy="209910"/>
              </a:xfrm>
              <a:prstGeom prst="rect">
                <a:avLst/>
              </a:prstGeom>
            </p:spPr>
          </p:pic>
        </p:grpSp>
        <p:grpSp>
          <p:nvGrpSpPr>
            <p:cNvPr id="38" name="object 14">
              <a:extLst>
                <a:ext uri="{FF2B5EF4-FFF2-40B4-BE49-F238E27FC236}">
                  <a16:creationId xmlns:a16="http://schemas.microsoft.com/office/drawing/2014/main" id="{A38C9CDA-A801-03E0-B4B1-A64F505BAD43}"/>
                </a:ext>
              </a:extLst>
            </p:cNvPr>
            <p:cNvGrpSpPr/>
            <p:nvPr/>
          </p:nvGrpSpPr>
          <p:grpSpPr>
            <a:xfrm>
              <a:off x="8620222" y="563058"/>
              <a:ext cx="154767" cy="148222"/>
              <a:chOff x="14215470" y="927625"/>
              <a:chExt cx="255270" cy="244475"/>
            </a:xfrm>
          </p:grpSpPr>
          <p:pic>
            <p:nvPicPr>
              <p:cNvPr id="47" name="object 15">
                <a:extLst>
                  <a:ext uri="{FF2B5EF4-FFF2-40B4-BE49-F238E27FC236}">
                    <a16:creationId xmlns:a16="http://schemas.microsoft.com/office/drawing/2014/main" id="{5D7ECD69-1C9B-2E10-13CC-EA3A7818D1F4}"/>
                  </a:ext>
                </a:extLst>
              </p:cNvPr>
              <p:cNvPicPr/>
              <p:nvPr/>
            </p:nvPicPr>
            <p:blipFill>
              <a:blip r:embed="rId8" cstate="print"/>
              <a:stretch>
                <a:fillRect/>
              </a:stretch>
            </p:blipFill>
            <p:spPr>
              <a:xfrm>
                <a:off x="14215470" y="927625"/>
                <a:ext cx="171837" cy="243919"/>
              </a:xfrm>
              <a:prstGeom prst="rect">
                <a:avLst/>
              </a:prstGeom>
            </p:spPr>
          </p:pic>
          <p:sp>
            <p:nvSpPr>
              <p:cNvPr id="48" name="object 16">
                <a:extLst>
                  <a:ext uri="{FF2B5EF4-FFF2-40B4-BE49-F238E27FC236}">
                    <a16:creationId xmlns:a16="http://schemas.microsoft.com/office/drawing/2014/main" id="{7C67E9D5-AECF-884C-BA11-01F12F6AA1A7}"/>
                  </a:ext>
                </a:extLst>
              </p:cNvPr>
              <p:cNvSpPr/>
              <p:nvPr/>
            </p:nvSpPr>
            <p:spPr>
              <a:xfrm>
                <a:off x="14418868" y="1070878"/>
                <a:ext cx="52069" cy="96520"/>
              </a:xfrm>
              <a:custGeom>
                <a:avLst/>
                <a:gdLst/>
                <a:ahLst/>
                <a:cxnLst/>
                <a:rect l="l" t="t" r="r" b="b"/>
                <a:pathLst>
                  <a:path w="52069" h="96519">
                    <a:moveTo>
                      <a:pt x="0" y="96520"/>
                    </a:moveTo>
                    <a:lnTo>
                      <a:pt x="51830" y="96520"/>
                    </a:lnTo>
                    <a:lnTo>
                      <a:pt x="51830" y="0"/>
                    </a:lnTo>
                    <a:lnTo>
                      <a:pt x="0" y="0"/>
                    </a:lnTo>
                    <a:lnTo>
                      <a:pt x="0" y="9652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Real Text Pro"/>
                  <a:ea typeface="+mn-ea"/>
                  <a:cs typeface="+mn-cs"/>
                </a:endParaRPr>
              </a:p>
            </p:txBody>
          </p:sp>
        </p:grpSp>
        <p:sp>
          <p:nvSpPr>
            <p:cNvPr id="39" name="object 17">
              <a:extLst>
                <a:ext uri="{FF2B5EF4-FFF2-40B4-BE49-F238E27FC236}">
                  <a16:creationId xmlns:a16="http://schemas.microsoft.com/office/drawing/2014/main" id="{62CB2CFE-BDDB-8A88-1EB3-BB23D5DE8C5F}"/>
                </a:ext>
              </a:extLst>
            </p:cNvPr>
            <p:cNvSpPr/>
            <p:nvPr/>
          </p:nvSpPr>
          <p:spPr>
            <a:xfrm>
              <a:off x="8743531" y="565215"/>
              <a:ext cx="97788" cy="143217"/>
            </a:xfrm>
            <a:custGeom>
              <a:avLst/>
              <a:gdLst/>
              <a:ahLst/>
              <a:cxnLst/>
              <a:rect l="l" t="t" r="r" b="b"/>
              <a:pathLst>
                <a:path w="161290" h="236219">
                  <a:moveTo>
                    <a:pt x="160832" y="0"/>
                  </a:moveTo>
                  <a:lnTo>
                    <a:pt x="108991" y="0"/>
                  </a:lnTo>
                  <a:lnTo>
                    <a:pt x="108991" y="95250"/>
                  </a:lnTo>
                  <a:lnTo>
                    <a:pt x="51841" y="95250"/>
                  </a:lnTo>
                  <a:lnTo>
                    <a:pt x="51841" y="0"/>
                  </a:lnTo>
                  <a:lnTo>
                    <a:pt x="0" y="0"/>
                  </a:lnTo>
                  <a:lnTo>
                    <a:pt x="0" y="95250"/>
                  </a:lnTo>
                  <a:lnTo>
                    <a:pt x="0" y="139700"/>
                  </a:lnTo>
                  <a:lnTo>
                    <a:pt x="108991" y="139700"/>
                  </a:lnTo>
                  <a:lnTo>
                    <a:pt x="108991" y="236220"/>
                  </a:lnTo>
                  <a:lnTo>
                    <a:pt x="160832" y="236220"/>
                  </a:lnTo>
                  <a:lnTo>
                    <a:pt x="160832" y="139700"/>
                  </a:lnTo>
                  <a:lnTo>
                    <a:pt x="160832" y="95250"/>
                  </a:lnTo>
                  <a:lnTo>
                    <a:pt x="160832"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Real Text Pro"/>
                <a:ea typeface="+mn-ea"/>
                <a:cs typeface="+mn-cs"/>
              </a:endParaRPr>
            </a:p>
          </p:txBody>
        </p:sp>
        <p:sp>
          <p:nvSpPr>
            <p:cNvPr id="40" name="object 18">
              <a:extLst>
                <a:ext uri="{FF2B5EF4-FFF2-40B4-BE49-F238E27FC236}">
                  <a16:creationId xmlns:a16="http://schemas.microsoft.com/office/drawing/2014/main" id="{23A13142-10DD-CFCF-259B-8147A3DAB477}"/>
                </a:ext>
              </a:extLst>
            </p:cNvPr>
            <p:cNvSpPr/>
            <p:nvPr/>
          </p:nvSpPr>
          <p:spPr>
            <a:xfrm>
              <a:off x="8868146" y="565211"/>
              <a:ext cx="31569" cy="143601"/>
            </a:xfrm>
            <a:custGeom>
              <a:avLst/>
              <a:gdLst/>
              <a:ahLst/>
              <a:cxnLst/>
              <a:rect l="l" t="t" r="r" b="b"/>
              <a:pathLst>
                <a:path w="52069" h="236855">
                  <a:moveTo>
                    <a:pt x="51830" y="0"/>
                  </a:moveTo>
                  <a:lnTo>
                    <a:pt x="0" y="0"/>
                  </a:lnTo>
                  <a:lnTo>
                    <a:pt x="0" y="236820"/>
                  </a:lnTo>
                  <a:lnTo>
                    <a:pt x="51830" y="236820"/>
                  </a:lnTo>
                  <a:lnTo>
                    <a:pt x="5183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Real Text Pro"/>
                <a:ea typeface="+mn-ea"/>
                <a:cs typeface="+mn-cs"/>
              </a:endParaRPr>
            </a:p>
          </p:txBody>
        </p:sp>
        <p:pic>
          <p:nvPicPr>
            <p:cNvPr id="41" name="object 19">
              <a:extLst>
                <a:ext uri="{FF2B5EF4-FFF2-40B4-BE49-F238E27FC236}">
                  <a16:creationId xmlns:a16="http://schemas.microsoft.com/office/drawing/2014/main" id="{5B8BE12F-5C15-5208-1680-836C66492A4D}"/>
                </a:ext>
              </a:extLst>
            </p:cNvPr>
            <p:cNvPicPr/>
            <p:nvPr/>
          </p:nvPicPr>
          <p:blipFill>
            <a:blip r:embed="rId9" cstate="print"/>
            <a:stretch>
              <a:fillRect/>
            </a:stretch>
          </p:blipFill>
          <p:spPr>
            <a:xfrm>
              <a:off x="8926675" y="563062"/>
              <a:ext cx="203386" cy="147878"/>
            </a:xfrm>
            <a:prstGeom prst="rect">
              <a:avLst/>
            </a:prstGeom>
          </p:spPr>
        </p:pic>
        <p:grpSp>
          <p:nvGrpSpPr>
            <p:cNvPr id="42" name="object 20">
              <a:extLst>
                <a:ext uri="{FF2B5EF4-FFF2-40B4-BE49-F238E27FC236}">
                  <a16:creationId xmlns:a16="http://schemas.microsoft.com/office/drawing/2014/main" id="{063983F6-AC94-0DD1-F0D6-323392D84DAC}"/>
                </a:ext>
              </a:extLst>
            </p:cNvPr>
            <p:cNvGrpSpPr/>
            <p:nvPr/>
          </p:nvGrpSpPr>
          <p:grpSpPr>
            <a:xfrm>
              <a:off x="8600880" y="735064"/>
              <a:ext cx="538218" cy="85083"/>
              <a:chOff x="14183569" y="1211327"/>
              <a:chExt cx="887730" cy="140335"/>
            </a:xfrm>
          </p:grpSpPr>
          <p:pic>
            <p:nvPicPr>
              <p:cNvPr id="44" name="object 21">
                <a:extLst>
                  <a:ext uri="{FF2B5EF4-FFF2-40B4-BE49-F238E27FC236}">
                    <a16:creationId xmlns:a16="http://schemas.microsoft.com/office/drawing/2014/main" id="{C39329F7-952E-2DD7-CD3D-4000BCC17509}"/>
                  </a:ext>
                </a:extLst>
              </p:cNvPr>
              <p:cNvPicPr/>
              <p:nvPr/>
            </p:nvPicPr>
            <p:blipFill>
              <a:blip r:embed="rId10" cstate="print"/>
              <a:stretch>
                <a:fillRect/>
              </a:stretch>
            </p:blipFill>
            <p:spPr>
              <a:xfrm>
                <a:off x="14183569" y="1211327"/>
                <a:ext cx="181745" cy="140267"/>
              </a:xfrm>
              <a:prstGeom prst="rect">
                <a:avLst/>
              </a:prstGeom>
            </p:spPr>
          </p:pic>
          <p:pic>
            <p:nvPicPr>
              <p:cNvPr id="45" name="object 22">
                <a:extLst>
                  <a:ext uri="{FF2B5EF4-FFF2-40B4-BE49-F238E27FC236}">
                    <a16:creationId xmlns:a16="http://schemas.microsoft.com/office/drawing/2014/main" id="{2F2EF708-D8DF-53AA-7F5F-FE52A43257B6}"/>
                  </a:ext>
                </a:extLst>
              </p:cNvPr>
              <p:cNvPicPr/>
              <p:nvPr/>
            </p:nvPicPr>
            <p:blipFill>
              <a:blip r:embed="rId11" cstate="print"/>
              <a:stretch>
                <a:fillRect/>
              </a:stretch>
            </p:blipFill>
            <p:spPr>
              <a:xfrm>
                <a:off x="14396082" y="1217741"/>
                <a:ext cx="226103" cy="102029"/>
              </a:xfrm>
              <a:prstGeom prst="rect">
                <a:avLst/>
              </a:prstGeom>
            </p:spPr>
          </p:pic>
          <p:pic>
            <p:nvPicPr>
              <p:cNvPr id="46" name="object 23">
                <a:extLst>
                  <a:ext uri="{FF2B5EF4-FFF2-40B4-BE49-F238E27FC236}">
                    <a16:creationId xmlns:a16="http://schemas.microsoft.com/office/drawing/2014/main" id="{20562C8C-92AB-6F4F-AAEF-22A0F8AF44DE}"/>
                  </a:ext>
                </a:extLst>
              </p:cNvPr>
              <p:cNvPicPr/>
              <p:nvPr/>
            </p:nvPicPr>
            <p:blipFill>
              <a:blip r:embed="rId12" cstate="print"/>
              <a:stretch>
                <a:fillRect/>
              </a:stretch>
            </p:blipFill>
            <p:spPr>
              <a:xfrm>
                <a:off x="14642404" y="1216069"/>
                <a:ext cx="428683" cy="105546"/>
              </a:xfrm>
              <a:prstGeom prst="rect">
                <a:avLst/>
              </a:prstGeom>
            </p:spPr>
          </p:pic>
        </p:grpSp>
        <p:pic>
          <p:nvPicPr>
            <p:cNvPr id="43" name="object 24">
              <a:extLst>
                <a:ext uri="{FF2B5EF4-FFF2-40B4-BE49-F238E27FC236}">
                  <a16:creationId xmlns:a16="http://schemas.microsoft.com/office/drawing/2014/main" id="{B2ECE5C9-A55E-9A38-29AB-6F64DC8802F3}"/>
                </a:ext>
              </a:extLst>
            </p:cNvPr>
            <p:cNvPicPr/>
            <p:nvPr/>
          </p:nvPicPr>
          <p:blipFill>
            <a:blip r:embed="rId13" cstate="print"/>
            <a:srcRect t="2" r="8299" b="42551"/>
            <a:stretch/>
          </p:blipFill>
          <p:spPr>
            <a:xfrm>
              <a:off x="11109501" y="589948"/>
              <a:ext cx="673884" cy="185327"/>
            </a:xfrm>
            <a:prstGeom prst="rect">
              <a:avLst/>
            </a:prstGeom>
          </p:spPr>
        </p:pic>
      </p:grpSp>
    </p:spTree>
    <p:extLst>
      <p:ext uri="{BB962C8B-B14F-4D97-AF65-F5344CB8AC3E}">
        <p14:creationId xmlns:p14="http://schemas.microsoft.com/office/powerpoint/2010/main" val="2119125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Image Background">
    <p:bg>
      <p:bgPr>
        <a:solidFill>
          <a:schemeClr val="tx2"/>
        </a:solidFill>
        <a:effectLst/>
      </p:bgPr>
    </p:bg>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CA088F58-E6DD-8B73-923F-B56F1EB33A4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p:blipFill>
        <p:spPr bwMode="auto">
          <a:xfrm>
            <a:off x="3174" y="9878"/>
            <a:ext cx="12188826" cy="6856214"/>
          </a:xfrm>
          <a:prstGeom prst="rect">
            <a:avLst/>
          </a:prstGeom>
          <a:noFill/>
          <a:extLst>
            <a:ext uri="{909E8E84-426E-40DD-AFC4-6F175D3DCCD1}">
              <a14:hiddenFill xmlns:a14="http://schemas.microsoft.com/office/drawing/2010/main">
                <a:solidFill>
                  <a:srgbClr val="FFFFFF"/>
                </a:solidFill>
              </a14:hiddenFill>
            </a:ext>
          </a:extLst>
        </p:spPr>
      </p:pic>
      <p:sp>
        <p:nvSpPr>
          <p:cNvPr id="3" name="Date Placeholder 2">
            <a:extLst>
              <a:ext uri="{FF2B5EF4-FFF2-40B4-BE49-F238E27FC236}">
                <a16:creationId xmlns:a16="http://schemas.microsoft.com/office/drawing/2014/main" id="{F9387432-3879-9786-4E7E-04F4D9106BED}"/>
              </a:ext>
            </a:extLst>
          </p:cNvPr>
          <p:cNvSpPr>
            <a:spLocks noGrp="1"/>
          </p:cNvSpPr>
          <p:nvPr>
            <p:ph type="dt" sz="half" idx="10"/>
          </p:nvPr>
        </p:nvSpPr>
        <p:spPr/>
        <p:txBody>
          <a:bodyPr/>
          <a:lstStyle/>
          <a:p>
            <a:fld id="{9A5D80D6-DF3C-4908-938F-A45E5DC17A7C}" type="datetime1">
              <a:rPr lang="en-US" smtClean="0"/>
              <a:t>4/2/2025</a:t>
            </a:fld>
            <a:endParaRPr lang="en-US"/>
          </a:p>
        </p:txBody>
      </p:sp>
      <p:sp>
        <p:nvSpPr>
          <p:cNvPr id="4" name="Footer Placeholder 3">
            <a:extLst>
              <a:ext uri="{FF2B5EF4-FFF2-40B4-BE49-F238E27FC236}">
                <a16:creationId xmlns:a16="http://schemas.microsoft.com/office/drawing/2014/main" id="{53955FCB-9FB6-F77B-FDE1-563B1D4FE4E9}"/>
              </a:ext>
            </a:extLst>
          </p:cNvPr>
          <p:cNvSpPr>
            <a:spLocks noGrp="1"/>
          </p:cNvSpPr>
          <p:nvPr>
            <p:ph type="ftr" sz="quarter" idx="11"/>
          </p:nvPr>
        </p:nvSpPr>
        <p:spPr/>
        <p:txBody>
          <a:bodyPr/>
          <a:lstStyle/>
          <a:p>
            <a:endParaRPr lang="en-US"/>
          </a:p>
        </p:txBody>
      </p:sp>
      <p:sp>
        <p:nvSpPr>
          <p:cNvPr id="8" name="Slide Number Box">
            <a:extLst>
              <a:ext uri="{FF2B5EF4-FFF2-40B4-BE49-F238E27FC236}">
                <a16:creationId xmlns:a16="http://schemas.microsoft.com/office/drawing/2014/main" id="{633806CE-58D1-BF74-8C8C-E355637C2FDB}"/>
              </a:ext>
            </a:extLst>
          </p:cNvPr>
          <p:cNvSpPr txBox="1"/>
          <p:nvPr userDrawn="1"/>
        </p:nvSpPr>
        <p:spPr>
          <a:xfrm>
            <a:off x="11566535" y="6234575"/>
            <a:ext cx="279503" cy="283464"/>
          </a:xfrm>
          <a:prstGeom prst="rect">
            <a:avLst/>
          </a:prstGeom>
          <a:solidFill>
            <a:srgbClr val="FFD700"/>
          </a:solidFill>
        </p:spPr>
        <p:txBody>
          <a:bodyPr vert="horz" wrap="square" lIns="0" tIns="38884" rIns="0" bIns="0" rtlCol="0">
            <a:spAutoFit/>
          </a:bodyPr>
          <a:lstStyle/>
          <a:p>
            <a:pPr marL="55825" algn="ctr">
              <a:spcBef>
                <a:spcPts val="306"/>
              </a:spcBef>
            </a:pPr>
            <a:endParaRPr sz="1182">
              <a:latin typeface="Real Head Pro"/>
              <a:cs typeface="Real Head Pro"/>
            </a:endParaRPr>
          </a:p>
        </p:txBody>
      </p:sp>
      <p:sp>
        <p:nvSpPr>
          <p:cNvPr id="5" name="Slide Number Placeholder 4">
            <a:extLst>
              <a:ext uri="{FF2B5EF4-FFF2-40B4-BE49-F238E27FC236}">
                <a16:creationId xmlns:a16="http://schemas.microsoft.com/office/drawing/2014/main" id="{CA2C681C-5B31-CB01-EA49-3A193566CD22}"/>
              </a:ext>
            </a:extLst>
          </p:cNvPr>
          <p:cNvSpPr>
            <a:spLocks noGrp="1"/>
          </p:cNvSpPr>
          <p:nvPr>
            <p:ph type="sldNum" sz="quarter" idx="12"/>
          </p:nvPr>
        </p:nvSpPr>
        <p:spPr/>
        <p:txBody>
          <a:bodyPr/>
          <a:lstStyle/>
          <a:p>
            <a:fld id="{FF7D9A68-EC15-4B1F-850C-8A6CCAFA90D8}" type="slidenum">
              <a:rPr lang="en-US" smtClean="0"/>
              <a:pPr/>
              <a:t>‹#›</a:t>
            </a:fld>
            <a:endParaRPr lang="en-US"/>
          </a:p>
        </p:txBody>
      </p:sp>
      <p:grpSp>
        <p:nvGrpSpPr>
          <p:cNvPr id="9" name="Group 8">
            <a:extLst>
              <a:ext uri="{FF2B5EF4-FFF2-40B4-BE49-F238E27FC236}">
                <a16:creationId xmlns:a16="http://schemas.microsoft.com/office/drawing/2014/main" id="{0FA8A92E-38DD-3015-E6D2-59689D6A9CD1}"/>
              </a:ext>
            </a:extLst>
          </p:cNvPr>
          <p:cNvGrpSpPr/>
          <p:nvPr userDrawn="1"/>
        </p:nvGrpSpPr>
        <p:grpSpPr>
          <a:xfrm>
            <a:off x="10768672" y="6279572"/>
            <a:ext cx="694340" cy="190186"/>
            <a:chOff x="10768672" y="6279572"/>
            <a:chExt cx="694340" cy="190186"/>
          </a:xfrm>
        </p:grpSpPr>
        <p:grpSp>
          <p:nvGrpSpPr>
            <p:cNvPr id="10" name="object 26">
              <a:extLst>
                <a:ext uri="{FF2B5EF4-FFF2-40B4-BE49-F238E27FC236}">
                  <a16:creationId xmlns:a16="http://schemas.microsoft.com/office/drawing/2014/main" id="{590CFC62-D392-3413-B2BF-25460572A4BC}"/>
                </a:ext>
              </a:extLst>
            </p:cNvPr>
            <p:cNvGrpSpPr/>
            <p:nvPr/>
          </p:nvGrpSpPr>
          <p:grpSpPr>
            <a:xfrm>
              <a:off x="10768672" y="6279841"/>
              <a:ext cx="348802" cy="189801"/>
              <a:chOff x="17759098" y="10356815"/>
              <a:chExt cx="575310" cy="313055"/>
            </a:xfrm>
          </p:grpSpPr>
          <p:sp>
            <p:nvSpPr>
              <p:cNvPr id="12" name="object 27">
                <a:extLst>
                  <a:ext uri="{FF2B5EF4-FFF2-40B4-BE49-F238E27FC236}">
                    <a16:creationId xmlns:a16="http://schemas.microsoft.com/office/drawing/2014/main" id="{614254EF-48C3-5E7A-7A2B-C9CC03909D97}"/>
                  </a:ext>
                </a:extLst>
              </p:cNvPr>
              <p:cNvSpPr/>
              <p:nvPr/>
            </p:nvSpPr>
            <p:spPr>
              <a:xfrm>
                <a:off x="17759098" y="10361392"/>
                <a:ext cx="281940" cy="302895"/>
              </a:xfrm>
              <a:custGeom>
                <a:avLst/>
                <a:gdLst/>
                <a:ahLst/>
                <a:cxnLst/>
                <a:rect l="l" t="t" r="r" b="b"/>
                <a:pathLst>
                  <a:path w="281940" h="302895">
                    <a:moveTo>
                      <a:pt x="281478" y="0"/>
                    </a:moveTo>
                    <a:lnTo>
                      <a:pt x="202936" y="0"/>
                    </a:lnTo>
                    <a:lnTo>
                      <a:pt x="202936" y="174308"/>
                    </a:lnTo>
                    <a:lnTo>
                      <a:pt x="80364" y="0"/>
                    </a:lnTo>
                    <a:lnTo>
                      <a:pt x="0" y="0"/>
                    </a:lnTo>
                    <a:lnTo>
                      <a:pt x="0" y="302723"/>
                    </a:lnTo>
                    <a:lnTo>
                      <a:pt x="78049" y="302723"/>
                    </a:lnTo>
                    <a:lnTo>
                      <a:pt x="78049" y="119807"/>
                    </a:lnTo>
                    <a:lnTo>
                      <a:pt x="206129" y="302776"/>
                    </a:lnTo>
                    <a:lnTo>
                      <a:pt x="281478" y="302776"/>
                    </a:lnTo>
                    <a:lnTo>
                      <a:pt x="281478" y="0"/>
                    </a:lnTo>
                    <a:close/>
                  </a:path>
                </a:pathLst>
              </a:custGeom>
              <a:solidFill>
                <a:srgbClr val="FFFFFF"/>
              </a:solidFill>
            </p:spPr>
            <p:txBody>
              <a:bodyPr wrap="square" lIns="0" tIns="0" rIns="0" bIns="0" rtlCol="0"/>
              <a:lstStyle/>
              <a:p>
                <a:endParaRPr kern="0">
                  <a:solidFill>
                    <a:sysClr val="windowText" lastClr="000000"/>
                  </a:solidFill>
                </a:endParaRPr>
              </a:p>
            </p:txBody>
          </p:sp>
          <p:sp>
            <p:nvSpPr>
              <p:cNvPr id="13" name="object 28">
                <a:extLst>
                  <a:ext uri="{FF2B5EF4-FFF2-40B4-BE49-F238E27FC236}">
                    <a16:creationId xmlns:a16="http://schemas.microsoft.com/office/drawing/2014/main" id="{AAB2F33F-B5A9-8A70-1C1D-81C53AA06331}"/>
                  </a:ext>
                </a:extLst>
              </p:cNvPr>
              <p:cNvSpPr/>
              <p:nvPr/>
            </p:nvSpPr>
            <p:spPr>
              <a:xfrm>
                <a:off x="18073618" y="10356815"/>
                <a:ext cx="260985" cy="313055"/>
              </a:xfrm>
              <a:custGeom>
                <a:avLst/>
                <a:gdLst/>
                <a:ahLst/>
                <a:cxnLst/>
                <a:rect l="l" t="t" r="r" b="b"/>
                <a:pathLst>
                  <a:path w="260984" h="313054">
                    <a:moveTo>
                      <a:pt x="130289" y="0"/>
                    </a:moveTo>
                    <a:lnTo>
                      <a:pt x="78682" y="7671"/>
                    </a:lnTo>
                    <a:lnTo>
                      <a:pt x="40822" y="28360"/>
                    </a:lnTo>
                    <a:lnTo>
                      <a:pt x="17523" y="58574"/>
                    </a:lnTo>
                    <a:lnTo>
                      <a:pt x="9601" y="94824"/>
                    </a:lnTo>
                    <a:lnTo>
                      <a:pt x="21302" y="138425"/>
                    </a:lnTo>
                    <a:lnTo>
                      <a:pt x="50787" y="165184"/>
                    </a:lnTo>
                    <a:lnTo>
                      <a:pt x="89631" y="180370"/>
                    </a:lnTo>
                    <a:lnTo>
                      <a:pt x="129409" y="189250"/>
                    </a:lnTo>
                    <a:lnTo>
                      <a:pt x="151085" y="194533"/>
                    </a:lnTo>
                    <a:lnTo>
                      <a:pt x="167360" y="200784"/>
                    </a:lnTo>
                    <a:lnTo>
                      <a:pt x="177593" y="208990"/>
                    </a:lnTo>
                    <a:lnTo>
                      <a:pt x="181146" y="220139"/>
                    </a:lnTo>
                    <a:lnTo>
                      <a:pt x="178169" y="230305"/>
                    </a:lnTo>
                    <a:lnTo>
                      <a:pt x="169613" y="238518"/>
                    </a:lnTo>
                    <a:lnTo>
                      <a:pt x="156042" y="244011"/>
                    </a:lnTo>
                    <a:lnTo>
                      <a:pt x="138016" y="246013"/>
                    </a:lnTo>
                    <a:lnTo>
                      <a:pt x="108540" y="242837"/>
                    </a:lnTo>
                    <a:lnTo>
                      <a:pt x="82344" y="234216"/>
                    </a:lnTo>
                    <a:lnTo>
                      <a:pt x="59809" y="221510"/>
                    </a:lnTo>
                    <a:lnTo>
                      <a:pt x="41318" y="206025"/>
                    </a:lnTo>
                    <a:lnTo>
                      <a:pt x="0" y="264599"/>
                    </a:lnTo>
                    <a:lnTo>
                      <a:pt x="25223" y="284356"/>
                    </a:lnTo>
                    <a:lnTo>
                      <a:pt x="55622" y="299531"/>
                    </a:lnTo>
                    <a:lnTo>
                      <a:pt x="91803" y="309266"/>
                    </a:lnTo>
                    <a:lnTo>
                      <a:pt x="134372" y="312702"/>
                    </a:lnTo>
                    <a:lnTo>
                      <a:pt x="188371" y="305443"/>
                    </a:lnTo>
                    <a:lnTo>
                      <a:pt x="227945" y="284908"/>
                    </a:lnTo>
                    <a:lnTo>
                      <a:pt x="252285" y="252965"/>
                    </a:lnTo>
                    <a:lnTo>
                      <a:pt x="260578" y="211480"/>
                    </a:lnTo>
                    <a:lnTo>
                      <a:pt x="249016" y="169435"/>
                    </a:lnTo>
                    <a:lnTo>
                      <a:pt x="219837" y="142952"/>
                    </a:lnTo>
                    <a:lnTo>
                      <a:pt x="181299" y="127359"/>
                    </a:lnTo>
                    <a:lnTo>
                      <a:pt x="141660" y="117985"/>
                    </a:lnTo>
                    <a:lnTo>
                      <a:pt x="119330" y="113216"/>
                    </a:lnTo>
                    <a:lnTo>
                      <a:pt x="102966" y="107720"/>
                    </a:lnTo>
                    <a:lnTo>
                      <a:pt x="92902" y="100435"/>
                    </a:lnTo>
                    <a:lnTo>
                      <a:pt x="89473" y="90300"/>
                    </a:lnTo>
                    <a:lnTo>
                      <a:pt x="91313" y="81050"/>
                    </a:lnTo>
                    <a:lnTo>
                      <a:pt x="97367" y="73551"/>
                    </a:lnTo>
                    <a:lnTo>
                      <a:pt x="108437" y="68524"/>
                    </a:lnTo>
                    <a:lnTo>
                      <a:pt x="125326" y="66689"/>
                    </a:lnTo>
                    <a:lnTo>
                      <a:pt x="146369" y="68645"/>
                    </a:lnTo>
                    <a:lnTo>
                      <a:pt x="168489" y="74516"/>
                    </a:lnTo>
                    <a:lnTo>
                      <a:pt x="190362" y="84305"/>
                    </a:lnTo>
                    <a:lnTo>
                      <a:pt x="210663" y="98017"/>
                    </a:lnTo>
                    <a:lnTo>
                      <a:pt x="253301" y="42197"/>
                    </a:lnTo>
                    <a:lnTo>
                      <a:pt x="227314" y="23920"/>
                    </a:lnTo>
                    <a:lnTo>
                      <a:pt x="197916" y="10713"/>
                    </a:lnTo>
                    <a:lnTo>
                      <a:pt x="165458" y="2698"/>
                    </a:lnTo>
                    <a:lnTo>
                      <a:pt x="130289" y="0"/>
                    </a:lnTo>
                    <a:close/>
                  </a:path>
                </a:pathLst>
              </a:custGeom>
              <a:solidFill>
                <a:srgbClr val="00BFFF"/>
              </a:solidFill>
            </p:spPr>
            <p:txBody>
              <a:bodyPr wrap="square" lIns="0" tIns="0" rIns="0" bIns="0" rtlCol="0"/>
              <a:lstStyle/>
              <a:p>
                <a:endParaRPr kern="0">
                  <a:solidFill>
                    <a:sysClr val="windowText" lastClr="000000"/>
                  </a:solidFill>
                </a:endParaRPr>
              </a:p>
            </p:txBody>
          </p:sp>
        </p:grpSp>
        <p:sp>
          <p:nvSpPr>
            <p:cNvPr id="11" name="object 29">
              <a:extLst>
                <a:ext uri="{FF2B5EF4-FFF2-40B4-BE49-F238E27FC236}">
                  <a16:creationId xmlns:a16="http://schemas.microsoft.com/office/drawing/2014/main" id="{9D6776E1-44EB-BDD2-BCCA-919419D81BA7}"/>
                </a:ext>
              </a:extLst>
            </p:cNvPr>
            <p:cNvSpPr/>
            <p:nvPr/>
          </p:nvSpPr>
          <p:spPr>
            <a:xfrm>
              <a:off x="11126915" y="6279572"/>
              <a:ext cx="336097" cy="190186"/>
            </a:xfrm>
            <a:custGeom>
              <a:avLst/>
              <a:gdLst/>
              <a:ahLst/>
              <a:cxnLst/>
              <a:rect l="l" t="t" r="r" b="b"/>
              <a:pathLst>
                <a:path w="554355" h="313690">
                  <a:moveTo>
                    <a:pt x="247383" y="4508"/>
                  </a:moveTo>
                  <a:lnTo>
                    <a:pt x="0" y="4508"/>
                  </a:lnTo>
                  <a:lnTo>
                    <a:pt x="0" y="73088"/>
                  </a:lnTo>
                  <a:lnTo>
                    <a:pt x="84886" y="73088"/>
                  </a:lnTo>
                  <a:lnTo>
                    <a:pt x="84886" y="308038"/>
                  </a:lnTo>
                  <a:lnTo>
                    <a:pt x="162928" y="308038"/>
                  </a:lnTo>
                  <a:lnTo>
                    <a:pt x="162928" y="73088"/>
                  </a:lnTo>
                  <a:lnTo>
                    <a:pt x="247383" y="73088"/>
                  </a:lnTo>
                  <a:lnTo>
                    <a:pt x="247383" y="4508"/>
                  </a:lnTo>
                  <a:close/>
                </a:path>
                <a:path w="554355" h="313690">
                  <a:moveTo>
                    <a:pt x="554139" y="81254"/>
                  </a:moveTo>
                  <a:lnTo>
                    <a:pt x="535305" y="51714"/>
                  </a:lnTo>
                  <a:lnTo>
                    <a:pt x="507720" y="25654"/>
                  </a:lnTo>
                  <a:lnTo>
                    <a:pt x="469734" y="7086"/>
                  </a:lnTo>
                  <a:lnTo>
                    <a:pt x="419760" y="0"/>
                  </a:lnTo>
                  <a:lnTo>
                    <a:pt x="368109" y="7315"/>
                  </a:lnTo>
                  <a:lnTo>
                    <a:pt x="323684" y="28206"/>
                  </a:lnTo>
                  <a:lnTo>
                    <a:pt x="288937" y="61087"/>
                  </a:lnTo>
                  <a:lnTo>
                    <a:pt x="266293" y="104419"/>
                  </a:lnTo>
                  <a:lnTo>
                    <a:pt x="258191" y="156603"/>
                  </a:lnTo>
                  <a:lnTo>
                    <a:pt x="266280" y="208622"/>
                  </a:lnTo>
                  <a:lnTo>
                    <a:pt x="288912" y="251929"/>
                  </a:lnTo>
                  <a:lnTo>
                    <a:pt x="323672" y="284886"/>
                  </a:lnTo>
                  <a:lnTo>
                    <a:pt x="368096" y="305854"/>
                  </a:lnTo>
                  <a:lnTo>
                    <a:pt x="419760" y="313207"/>
                  </a:lnTo>
                  <a:lnTo>
                    <a:pt x="469798" y="306006"/>
                  </a:lnTo>
                  <a:lnTo>
                    <a:pt x="507885" y="287223"/>
                  </a:lnTo>
                  <a:lnTo>
                    <a:pt x="535495" y="261124"/>
                  </a:lnTo>
                  <a:lnTo>
                    <a:pt x="554139" y="231952"/>
                  </a:lnTo>
                  <a:lnTo>
                    <a:pt x="486943" y="200190"/>
                  </a:lnTo>
                  <a:lnTo>
                    <a:pt x="476643" y="217208"/>
                  </a:lnTo>
                  <a:lnTo>
                    <a:pt x="461352" y="231216"/>
                  </a:lnTo>
                  <a:lnTo>
                    <a:pt x="442074" y="240703"/>
                  </a:lnTo>
                  <a:lnTo>
                    <a:pt x="419760" y="244208"/>
                  </a:lnTo>
                  <a:lnTo>
                    <a:pt x="387032" y="237477"/>
                  </a:lnTo>
                  <a:lnTo>
                    <a:pt x="361010" y="218960"/>
                  </a:lnTo>
                  <a:lnTo>
                    <a:pt x="343827" y="191160"/>
                  </a:lnTo>
                  <a:lnTo>
                    <a:pt x="337629" y="156603"/>
                  </a:lnTo>
                  <a:lnTo>
                    <a:pt x="343827" y="122047"/>
                  </a:lnTo>
                  <a:lnTo>
                    <a:pt x="360984" y="94246"/>
                  </a:lnTo>
                  <a:lnTo>
                    <a:pt x="387007" y="75730"/>
                  </a:lnTo>
                  <a:lnTo>
                    <a:pt x="419760" y="69011"/>
                  </a:lnTo>
                  <a:lnTo>
                    <a:pt x="442074" y="72504"/>
                  </a:lnTo>
                  <a:lnTo>
                    <a:pt x="461352" y="81991"/>
                  </a:lnTo>
                  <a:lnTo>
                    <a:pt x="476643" y="95999"/>
                  </a:lnTo>
                  <a:lnTo>
                    <a:pt x="486943" y="113030"/>
                  </a:lnTo>
                  <a:lnTo>
                    <a:pt x="554139" y="81254"/>
                  </a:lnTo>
                  <a:close/>
                </a:path>
              </a:pathLst>
            </a:custGeom>
            <a:solidFill>
              <a:srgbClr val="FFFFFF"/>
            </a:solidFill>
          </p:spPr>
          <p:txBody>
            <a:bodyPr wrap="square" lIns="0" tIns="0" rIns="0" bIns="0" rtlCol="0"/>
            <a:lstStyle/>
            <a:p>
              <a:endParaRPr kern="0">
                <a:solidFill>
                  <a:sysClr val="windowText" lastClr="000000"/>
                </a:solidFill>
              </a:endParaRPr>
            </a:p>
          </p:txBody>
        </p:sp>
      </p:grpSp>
      <p:sp>
        <p:nvSpPr>
          <p:cNvPr id="20" name="Rectangle 19">
            <a:extLst>
              <a:ext uri="{FF2B5EF4-FFF2-40B4-BE49-F238E27FC236}">
                <a16:creationId xmlns:a16="http://schemas.microsoft.com/office/drawing/2014/main" id="{3877EE23-3092-5A89-B84C-8309557C582B}"/>
              </a:ext>
            </a:extLst>
          </p:cNvPr>
          <p:cNvSpPr/>
          <p:nvPr userDrawn="1"/>
        </p:nvSpPr>
        <p:spPr>
          <a:xfrm>
            <a:off x="0" y="0"/>
            <a:ext cx="12188826" cy="6866092"/>
          </a:xfrm>
          <a:prstGeom prst="rect">
            <a:avLst/>
          </a:prstGeom>
          <a:solidFill>
            <a:srgbClr val="AEE4FF">
              <a:alpha val="30196"/>
            </a:srgb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263687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F42569B-14C1-480A-826C-27D70A3288BE}" type="datetimeFigureOut">
              <a:rPr lang="en-US" smtClean="0"/>
              <a:t>4/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B05F229-852D-4A77-95BA-3D996206520B}" type="slidenum">
              <a:rPr lang="en-US" smtClean="0"/>
              <a:t>‹#›</a:t>
            </a:fld>
            <a:endParaRPr lang="en-US"/>
          </a:p>
        </p:txBody>
      </p:sp>
    </p:spTree>
    <p:extLst>
      <p:ext uri="{BB962C8B-B14F-4D97-AF65-F5344CB8AC3E}">
        <p14:creationId xmlns:p14="http://schemas.microsoft.com/office/powerpoint/2010/main" val="1313779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ech Background Image">
    <p:bg>
      <p:bgPr>
        <a:solidFill>
          <a:schemeClr val="accent1"/>
        </a:solidFill>
        <a:effectLst/>
      </p:bgPr>
    </p:bg>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29D9B89B-6C49-FE14-4CC5-06BF022C9EFD}"/>
              </a:ext>
            </a:extLst>
          </p:cNvPr>
          <p:cNvPicPr>
            <a:picLocks noChangeAspect="1" noChangeArrowheads="1"/>
          </p:cNvPicPr>
          <p:nvPr userDrawn="1"/>
        </p:nvPicPr>
        <p:blipFill rotWithShape="1">
          <a:blip r:embed="rId2">
            <a:alphaModFix amt="25000"/>
            <a:extLst>
              <a:ext uri="{28A0092B-C50C-407E-A947-70E740481C1C}">
                <a14:useLocalDpi xmlns:a14="http://schemas.microsoft.com/office/drawing/2010/main" val="0"/>
              </a:ext>
            </a:extLst>
          </a:blip>
          <a:srcRect l="10754" t="14777" r="10573" b="6513"/>
          <a:stretch/>
        </p:blipFill>
        <p:spPr bwMode="auto">
          <a:xfrm>
            <a:off x="1588" y="0"/>
            <a:ext cx="12188824" cy="6858000"/>
          </a:xfrm>
          <a:prstGeom prst="rect">
            <a:avLst/>
          </a:prstGeom>
          <a:noFill/>
          <a:extLst>
            <a:ext uri="{909E8E84-426E-40DD-AFC4-6F175D3DCCD1}">
              <a14:hiddenFill xmlns:a14="http://schemas.microsoft.com/office/drawing/2010/main">
                <a:solidFill>
                  <a:srgbClr val="FFFFFF"/>
                </a:solidFill>
              </a14:hiddenFill>
            </a:ext>
          </a:extLst>
        </p:spPr>
      </p:pic>
      <p:pic>
        <p:nvPicPr>
          <p:cNvPr id="7" name="object 6">
            <a:extLst>
              <a:ext uri="{FF2B5EF4-FFF2-40B4-BE49-F238E27FC236}">
                <a16:creationId xmlns:a16="http://schemas.microsoft.com/office/drawing/2014/main" id="{AE39237E-7A8D-CC3A-789F-2C0F7108819C}"/>
              </a:ext>
            </a:extLst>
          </p:cNvPr>
          <p:cNvPicPr/>
          <p:nvPr userDrawn="1"/>
        </p:nvPicPr>
        <p:blipFill>
          <a:blip r:embed="rId3" cstate="print">
            <a:alphaModFix amt="15000"/>
          </a:blip>
          <a:stretch>
            <a:fillRect/>
          </a:stretch>
        </p:blipFill>
        <p:spPr>
          <a:xfrm>
            <a:off x="0" y="0"/>
            <a:ext cx="12344400" cy="7009507"/>
          </a:xfrm>
          <a:prstGeom prst="rect">
            <a:avLst/>
          </a:prstGeom>
        </p:spPr>
      </p:pic>
      <p:pic>
        <p:nvPicPr>
          <p:cNvPr id="6" name="object 6">
            <a:extLst>
              <a:ext uri="{FF2B5EF4-FFF2-40B4-BE49-F238E27FC236}">
                <a16:creationId xmlns:a16="http://schemas.microsoft.com/office/drawing/2014/main" id="{9708983F-1698-E50D-7FA5-483DE66E4A6A}"/>
              </a:ext>
            </a:extLst>
          </p:cNvPr>
          <p:cNvPicPr/>
          <p:nvPr userDrawn="1"/>
        </p:nvPicPr>
        <p:blipFill>
          <a:blip r:embed="rId3" cstate="print">
            <a:alphaModFix amt="15000"/>
          </a:blip>
          <a:stretch>
            <a:fillRect/>
          </a:stretch>
        </p:blipFill>
        <p:spPr>
          <a:xfrm>
            <a:off x="0" y="1786"/>
            <a:ext cx="12188824" cy="6856214"/>
          </a:xfrm>
          <a:prstGeom prst="rect">
            <a:avLst/>
          </a:prstGeom>
        </p:spPr>
      </p:pic>
      <p:sp>
        <p:nvSpPr>
          <p:cNvPr id="2" name="Title 1">
            <a:extLst>
              <a:ext uri="{FF2B5EF4-FFF2-40B4-BE49-F238E27FC236}">
                <a16:creationId xmlns:a16="http://schemas.microsoft.com/office/drawing/2014/main" id="{8B7410AC-AD64-E7AB-9C75-4011FECA552E}"/>
              </a:ext>
            </a:extLst>
          </p:cNvPr>
          <p:cNvSpPr>
            <a:spLocks noGrp="1"/>
          </p:cNvSpPr>
          <p:nvPr>
            <p:ph type="title"/>
          </p:nvPr>
        </p:nvSpPr>
        <p:spPr/>
        <p:txBody>
          <a:bodyPr anchor="ct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5F0C5D14-38AD-28B4-69C1-23A1DC77784E}"/>
              </a:ext>
            </a:extLst>
          </p:cNvPr>
          <p:cNvSpPr>
            <a:spLocks noGrp="1"/>
          </p:cNvSpPr>
          <p:nvPr>
            <p:ph type="dt" sz="half" idx="10"/>
          </p:nvPr>
        </p:nvSpPr>
        <p:spPr/>
        <p:txBody>
          <a:bodyPr/>
          <a:lstStyle/>
          <a:p>
            <a:fld id="{9A5D80D6-DF3C-4908-938F-A45E5DC17A7C}" type="datetime1">
              <a:rPr lang="en-US" smtClean="0"/>
              <a:t>4/2/2025</a:t>
            </a:fld>
            <a:endParaRPr lang="en-US"/>
          </a:p>
        </p:txBody>
      </p:sp>
      <p:sp>
        <p:nvSpPr>
          <p:cNvPr id="4" name="Footer Placeholder 3">
            <a:extLst>
              <a:ext uri="{FF2B5EF4-FFF2-40B4-BE49-F238E27FC236}">
                <a16:creationId xmlns:a16="http://schemas.microsoft.com/office/drawing/2014/main" id="{EA640E17-A7E4-A9D8-6E13-2A5E89BB1703}"/>
              </a:ext>
            </a:extLst>
          </p:cNvPr>
          <p:cNvSpPr>
            <a:spLocks noGrp="1"/>
          </p:cNvSpPr>
          <p:nvPr>
            <p:ph type="ftr" sz="quarter" idx="11"/>
          </p:nvPr>
        </p:nvSpPr>
        <p:spPr/>
        <p:txBody>
          <a:bodyPr/>
          <a:lstStyle/>
          <a:p>
            <a:endParaRPr lang="en-US"/>
          </a:p>
        </p:txBody>
      </p:sp>
      <p:sp>
        <p:nvSpPr>
          <p:cNvPr id="20" name="Slide Number Box">
            <a:extLst>
              <a:ext uri="{FF2B5EF4-FFF2-40B4-BE49-F238E27FC236}">
                <a16:creationId xmlns:a16="http://schemas.microsoft.com/office/drawing/2014/main" id="{D9C7A0F6-5910-C0B5-199D-DAA68A4E026F}"/>
              </a:ext>
            </a:extLst>
          </p:cNvPr>
          <p:cNvSpPr txBox="1"/>
          <p:nvPr userDrawn="1"/>
        </p:nvSpPr>
        <p:spPr>
          <a:xfrm>
            <a:off x="11566535" y="6234575"/>
            <a:ext cx="279503" cy="283464"/>
          </a:xfrm>
          <a:prstGeom prst="rect">
            <a:avLst/>
          </a:prstGeom>
          <a:solidFill>
            <a:srgbClr val="FFD700"/>
          </a:solidFill>
        </p:spPr>
        <p:txBody>
          <a:bodyPr vert="horz" wrap="square" lIns="0" tIns="38884" rIns="0" bIns="0" rtlCol="0">
            <a:spAutoFit/>
          </a:bodyPr>
          <a:lstStyle/>
          <a:p>
            <a:pPr marL="55825" algn="ctr">
              <a:spcBef>
                <a:spcPts val="306"/>
              </a:spcBef>
            </a:pPr>
            <a:endParaRPr sz="1182">
              <a:latin typeface="Real Head Pro"/>
              <a:cs typeface="Real Head Pro"/>
            </a:endParaRPr>
          </a:p>
        </p:txBody>
      </p:sp>
      <p:sp>
        <p:nvSpPr>
          <p:cNvPr id="5" name="Slide Number Placeholder 4">
            <a:extLst>
              <a:ext uri="{FF2B5EF4-FFF2-40B4-BE49-F238E27FC236}">
                <a16:creationId xmlns:a16="http://schemas.microsoft.com/office/drawing/2014/main" id="{7457052D-6E27-FBC0-A40D-D914851C4C3C}"/>
              </a:ext>
            </a:extLst>
          </p:cNvPr>
          <p:cNvSpPr>
            <a:spLocks noGrp="1"/>
          </p:cNvSpPr>
          <p:nvPr>
            <p:ph type="sldNum" sz="quarter" idx="12"/>
          </p:nvPr>
        </p:nvSpPr>
        <p:spPr/>
        <p:txBody>
          <a:bodyPr/>
          <a:lstStyle/>
          <a:p>
            <a:fld id="{FF7D9A68-EC15-4B1F-850C-8A6CCAFA90D8}" type="slidenum">
              <a:rPr lang="en-US" smtClean="0"/>
              <a:pPr/>
              <a:t>‹#›</a:t>
            </a:fld>
            <a:endParaRPr lang="en-US"/>
          </a:p>
        </p:txBody>
      </p:sp>
      <p:pic>
        <p:nvPicPr>
          <p:cNvPr id="8" name="Graphic 7">
            <a:extLst>
              <a:ext uri="{FF2B5EF4-FFF2-40B4-BE49-F238E27FC236}">
                <a16:creationId xmlns:a16="http://schemas.microsoft.com/office/drawing/2014/main" id="{630F1DBA-1688-B47C-928D-6268E4BE6B2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755910" y="6285404"/>
            <a:ext cx="706755" cy="192024"/>
          </a:xfrm>
          <a:prstGeom prst="rect">
            <a:avLst/>
          </a:prstGeom>
        </p:spPr>
      </p:pic>
    </p:spTree>
    <p:extLst>
      <p:ext uri="{BB962C8B-B14F-4D97-AF65-F5344CB8AC3E}">
        <p14:creationId xmlns:p14="http://schemas.microsoft.com/office/powerpoint/2010/main" val="18796101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Section Heading 1">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8FAD1444-421E-F504-687D-41FCE008FC46}"/>
              </a:ext>
            </a:extLst>
          </p:cNvPr>
          <p:cNvPicPr>
            <a:picLocks noChangeAspect="1" noChangeArrowheads="1"/>
          </p:cNvPicPr>
          <p:nvPr userDrawn="1"/>
        </p:nvPicPr>
        <p:blipFill rotWithShape="1">
          <a:blip r:embed="rId2">
            <a:alphaModFix/>
            <a:extLst>
              <a:ext uri="{28A0092B-C50C-407E-A947-70E740481C1C}">
                <a14:useLocalDpi xmlns:a14="http://schemas.microsoft.com/office/drawing/2010/main" val="0"/>
              </a:ext>
            </a:extLst>
          </a:blip>
          <a:srcRect l="9347" t="16424" r="5832" b="13536"/>
          <a:stretch/>
        </p:blipFill>
        <p:spPr bwMode="auto">
          <a:xfrm>
            <a:off x="19615" y="329068"/>
            <a:ext cx="11503204" cy="6326353"/>
          </a:xfrm>
          <a:prstGeom prst="rect">
            <a:avLst/>
          </a:prstGeom>
          <a:noFill/>
          <a:extLst>
            <a:ext uri="{909E8E84-426E-40DD-AFC4-6F175D3DCCD1}">
              <a14:hiddenFill xmlns:a14="http://schemas.microsoft.com/office/drawing/2010/main">
                <a:solidFill>
                  <a:srgbClr val="FFFFFF"/>
                </a:solidFill>
              </a14:hiddenFill>
            </a:ext>
          </a:extLst>
        </p:spPr>
      </p:pic>
      <p:grpSp>
        <p:nvGrpSpPr>
          <p:cNvPr id="6" name="object 2">
            <a:extLst>
              <a:ext uri="{FF2B5EF4-FFF2-40B4-BE49-F238E27FC236}">
                <a16:creationId xmlns:a16="http://schemas.microsoft.com/office/drawing/2014/main" id="{E20A98F7-5068-D6D6-256F-AA04A0AAC475}"/>
              </a:ext>
            </a:extLst>
          </p:cNvPr>
          <p:cNvGrpSpPr/>
          <p:nvPr userDrawn="1"/>
        </p:nvGrpSpPr>
        <p:grpSpPr>
          <a:xfrm>
            <a:off x="1588" y="3609687"/>
            <a:ext cx="12189054" cy="3247402"/>
            <a:chOff x="0" y="5952698"/>
            <a:chExt cx="20104477" cy="5356225"/>
          </a:xfrm>
        </p:grpSpPr>
        <p:sp>
          <p:nvSpPr>
            <p:cNvPr id="8" name="Rectangle 2">
              <a:extLst>
                <a:ext uri="{FF2B5EF4-FFF2-40B4-BE49-F238E27FC236}">
                  <a16:creationId xmlns:a16="http://schemas.microsoft.com/office/drawing/2014/main" id="{653A196A-472F-C814-BF71-AAC27920E9F4}"/>
                </a:ext>
              </a:extLst>
            </p:cNvPr>
            <p:cNvSpPr/>
            <p:nvPr/>
          </p:nvSpPr>
          <p:spPr>
            <a:xfrm>
              <a:off x="9957812" y="10994430"/>
              <a:ext cx="10146665" cy="314325"/>
            </a:xfrm>
            <a:custGeom>
              <a:avLst/>
              <a:gdLst/>
              <a:ahLst/>
              <a:cxnLst/>
              <a:rect l="l" t="t" r="r" b="b"/>
              <a:pathLst>
                <a:path w="10146665" h="314325">
                  <a:moveTo>
                    <a:pt x="0" y="314126"/>
                  </a:moveTo>
                  <a:lnTo>
                    <a:pt x="10146287" y="314126"/>
                  </a:lnTo>
                  <a:lnTo>
                    <a:pt x="10146287" y="0"/>
                  </a:lnTo>
                  <a:lnTo>
                    <a:pt x="0" y="0"/>
                  </a:lnTo>
                  <a:lnTo>
                    <a:pt x="0" y="314126"/>
                  </a:lnTo>
                  <a:close/>
                </a:path>
              </a:pathLst>
            </a:custGeom>
            <a:solidFill>
              <a:schemeClr val="accent3"/>
            </a:solidFill>
          </p:spPr>
          <p:txBody>
            <a:bodyPr wrap="square" lIns="0" tIns="0" rIns="0" bIns="0" rtlCol="0"/>
            <a:lstStyle/>
            <a:p>
              <a:endParaRPr kern="0">
                <a:solidFill>
                  <a:sysClr val="windowText" lastClr="000000"/>
                </a:solidFill>
              </a:endParaRPr>
            </a:p>
          </p:txBody>
        </p:sp>
        <p:sp>
          <p:nvSpPr>
            <p:cNvPr id="9" name="Rectangle 1">
              <a:extLst>
                <a:ext uri="{FF2B5EF4-FFF2-40B4-BE49-F238E27FC236}">
                  <a16:creationId xmlns:a16="http://schemas.microsoft.com/office/drawing/2014/main" id="{9F40ABCB-1BAF-6940-C2BD-98252ACE6F39}"/>
                </a:ext>
              </a:extLst>
            </p:cNvPr>
            <p:cNvSpPr/>
            <p:nvPr/>
          </p:nvSpPr>
          <p:spPr>
            <a:xfrm>
              <a:off x="0" y="5952698"/>
              <a:ext cx="9958070" cy="5356225"/>
            </a:xfrm>
            <a:custGeom>
              <a:avLst/>
              <a:gdLst/>
              <a:ahLst/>
              <a:cxnLst/>
              <a:rect l="l" t="t" r="r" b="b"/>
              <a:pathLst>
                <a:path w="9958070" h="5356225">
                  <a:moveTo>
                    <a:pt x="9957811" y="5355857"/>
                  </a:moveTo>
                  <a:lnTo>
                    <a:pt x="9957811" y="0"/>
                  </a:lnTo>
                  <a:lnTo>
                    <a:pt x="0" y="0"/>
                  </a:lnTo>
                  <a:lnTo>
                    <a:pt x="0" y="5355857"/>
                  </a:lnTo>
                  <a:lnTo>
                    <a:pt x="9957811" y="5355857"/>
                  </a:lnTo>
                  <a:close/>
                </a:path>
              </a:pathLst>
            </a:custGeom>
            <a:solidFill>
              <a:schemeClr val="tx2">
                <a:alpha val="94999"/>
              </a:schemeClr>
            </a:solidFill>
          </p:spPr>
          <p:txBody>
            <a:bodyPr wrap="square" lIns="0" tIns="0" rIns="0" bIns="0" rtlCol="0"/>
            <a:lstStyle/>
            <a:p>
              <a:endParaRPr kern="0">
                <a:solidFill>
                  <a:sysClr val="windowText" lastClr="000000"/>
                </a:solidFill>
              </a:endParaRPr>
            </a:p>
          </p:txBody>
        </p:sp>
        <p:sp>
          <p:nvSpPr>
            <p:cNvPr id="10" name="object 6">
              <a:extLst>
                <a:ext uri="{FF2B5EF4-FFF2-40B4-BE49-F238E27FC236}">
                  <a16:creationId xmlns:a16="http://schemas.microsoft.com/office/drawing/2014/main" id="{996BBF15-E439-1625-5BB7-79ACA6CC314C}"/>
                </a:ext>
              </a:extLst>
            </p:cNvPr>
            <p:cNvSpPr/>
            <p:nvPr/>
          </p:nvSpPr>
          <p:spPr>
            <a:xfrm>
              <a:off x="0" y="5952698"/>
              <a:ext cx="1979295" cy="125730"/>
            </a:xfrm>
            <a:custGeom>
              <a:avLst/>
              <a:gdLst/>
              <a:ahLst/>
              <a:cxnLst/>
              <a:rect l="l" t="t" r="r" b="b"/>
              <a:pathLst>
                <a:path w="1979295" h="125729">
                  <a:moveTo>
                    <a:pt x="1978997" y="0"/>
                  </a:moveTo>
                  <a:lnTo>
                    <a:pt x="0" y="0"/>
                  </a:lnTo>
                  <a:lnTo>
                    <a:pt x="0" y="125650"/>
                  </a:lnTo>
                  <a:lnTo>
                    <a:pt x="1978997" y="125650"/>
                  </a:lnTo>
                  <a:lnTo>
                    <a:pt x="1978997" y="0"/>
                  </a:lnTo>
                  <a:close/>
                </a:path>
              </a:pathLst>
            </a:custGeom>
            <a:solidFill>
              <a:srgbClr val="FFD700"/>
            </a:solidFill>
            <a:ln>
              <a:solidFill>
                <a:schemeClr val="accent4"/>
              </a:solidFill>
            </a:ln>
          </p:spPr>
          <p:txBody>
            <a:bodyPr wrap="square" lIns="0" tIns="0" rIns="0" bIns="0" rtlCol="0"/>
            <a:lstStyle/>
            <a:p>
              <a:endParaRPr kern="0">
                <a:solidFill>
                  <a:sysClr val="windowText" lastClr="000000"/>
                </a:solidFill>
              </a:endParaRPr>
            </a:p>
          </p:txBody>
        </p:sp>
      </p:grpSp>
      <p:sp>
        <p:nvSpPr>
          <p:cNvPr id="16" name="object 12">
            <a:extLst>
              <a:ext uri="{FF2B5EF4-FFF2-40B4-BE49-F238E27FC236}">
                <a16:creationId xmlns:a16="http://schemas.microsoft.com/office/drawing/2014/main" id="{4B1C22C3-1441-8A00-4B6D-25C6C749A5EB}"/>
              </a:ext>
            </a:extLst>
          </p:cNvPr>
          <p:cNvSpPr txBox="1">
            <a:spLocks/>
          </p:cNvSpPr>
          <p:nvPr userDrawn="1"/>
        </p:nvSpPr>
        <p:spPr>
          <a:xfrm>
            <a:off x="7028811" y="3790905"/>
            <a:ext cx="146385" cy="204456"/>
          </a:xfrm>
          <a:prstGeom prst="rect">
            <a:avLst/>
          </a:prstGeom>
        </p:spPr>
        <p:txBody>
          <a:bodyPr vert="horz" wrap="square" lIns="0" tIns="22329" rIns="0" bIns="0" rtlCol="0" anchor="ctr">
            <a:spAutoFit/>
          </a:bodyPr>
          <a:lstStyle>
            <a:defPPr>
              <a:defRPr lang="en-US"/>
            </a:defPPr>
            <a:lvl1pPr marL="0" algn="ctr" defTabSz="914400" rtl="0" eaLnBrk="1" latinLnBrk="0" hangingPunct="1">
              <a:defRPr sz="1180" b="1" kern="1200">
                <a:solidFill>
                  <a:schemeClr val="tx1">
                    <a:tint val="82000"/>
                  </a:schemeClr>
                </a:solidFill>
                <a:latin typeface="Real Head Pro" panose="020B05040202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0070">
              <a:spcBef>
                <a:spcPts val="176"/>
              </a:spcBef>
            </a:pPr>
            <a:fld id="{81D60167-4931-47E6-BA6A-407CBD079E47}" type="slidenum">
              <a:rPr lang="en-US" kern="0" spc="-30" smtClean="0"/>
              <a:pPr marL="70070">
                <a:spcBef>
                  <a:spcPts val="176"/>
                </a:spcBef>
              </a:pPr>
              <a:t>‹#›</a:t>
            </a:fld>
            <a:endParaRPr lang="en-US" kern="0" spc="-30"/>
          </a:p>
        </p:txBody>
      </p:sp>
      <p:sp>
        <p:nvSpPr>
          <p:cNvPr id="31" name="Slide Number Box">
            <a:extLst>
              <a:ext uri="{FF2B5EF4-FFF2-40B4-BE49-F238E27FC236}">
                <a16:creationId xmlns:a16="http://schemas.microsoft.com/office/drawing/2014/main" id="{C8C30A0E-C945-097E-4049-68ECCF8C1045}"/>
              </a:ext>
            </a:extLst>
          </p:cNvPr>
          <p:cNvSpPr txBox="1"/>
          <p:nvPr userDrawn="1"/>
        </p:nvSpPr>
        <p:spPr>
          <a:xfrm>
            <a:off x="11566535" y="6234575"/>
            <a:ext cx="279503" cy="283464"/>
          </a:xfrm>
          <a:prstGeom prst="rect">
            <a:avLst/>
          </a:prstGeom>
          <a:solidFill>
            <a:srgbClr val="FFD700"/>
          </a:solidFill>
        </p:spPr>
        <p:txBody>
          <a:bodyPr vert="horz" wrap="square" lIns="0" tIns="38884" rIns="0" bIns="0" rtlCol="0">
            <a:spAutoFit/>
          </a:bodyPr>
          <a:lstStyle/>
          <a:p>
            <a:pPr marL="55825" algn="ctr">
              <a:spcBef>
                <a:spcPts val="306"/>
              </a:spcBef>
            </a:pPr>
            <a:endParaRPr sz="1182">
              <a:latin typeface="Real Head Pro"/>
              <a:cs typeface="Real Head Pro"/>
            </a:endParaRPr>
          </a:p>
        </p:txBody>
      </p:sp>
      <p:sp>
        <p:nvSpPr>
          <p:cNvPr id="30" name="Slide Number Placeholder 29">
            <a:extLst>
              <a:ext uri="{FF2B5EF4-FFF2-40B4-BE49-F238E27FC236}">
                <a16:creationId xmlns:a16="http://schemas.microsoft.com/office/drawing/2014/main" id="{D8EDAEDC-029D-D60B-2150-4EAF1A427744}"/>
              </a:ext>
            </a:extLst>
          </p:cNvPr>
          <p:cNvSpPr>
            <a:spLocks noGrp="1"/>
          </p:cNvSpPr>
          <p:nvPr>
            <p:ph type="sldNum" sz="quarter" idx="12"/>
          </p:nvPr>
        </p:nvSpPr>
        <p:spPr/>
        <p:txBody>
          <a:bodyPr/>
          <a:lstStyle/>
          <a:p>
            <a:fld id="{FF7D9A68-EC15-4B1F-850C-8A6CCAFA90D8}" type="slidenum">
              <a:rPr lang="en-US" smtClean="0"/>
              <a:pPr/>
              <a:t>‹#›</a:t>
            </a:fld>
            <a:endParaRPr lang="en-US"/>
          </a:p>
        </p:txBody>
      </p:sp>
      <p:sp>
        <p:nvSpPr>
          <p:cNvPr id="33" name="Text Placeholder 32">
            <a:extLst>
              <a:ext uri="{FF2B5EF4-FFF2-40B4-BE49-F238E27FC236}">
                <a16:creationId xmlns:a16="http://schemas.microsoft.com/office/drawing/2014/main" id="{60F66712-A08A-F036-E80E-9ED43BDD061A}"/>
              </a:ext>
            </a:extLst>
          </p:cNvPr>
          <p:cNvSpPr>
            <a:spLocks noGrp="1"/>
          </p:cNvSpPr>
          <p:nvPr>
            <p:ph type="body" sz="quarter" idx="13" hasCustomPrompt="1"/>
          </p:nvPr>
        </p:nvSpPr>
        <p:spPr>
          <a:xfrm>
            <a:off x="763625" y="4247290"/>
            <a:ext cx="971550" cy="612775"/>
          </a:xfrm>
        </p:spPr>
        <p:txBody>
          <a:bodyPr anchor="b"/>
          <a:lstStyle>
            <a:lvl1pPr marL="0" indent="0">
              <a:buNone/>
              <a:defRPr sz="3150">
                <a:solidFill>
                  <a:schemeClr val="accent3"/>
                </a:solidFill>
                <a:latin typeface="+mj-lt"/>
              </a:defRPr>
            </a:lvl1pPr>
          </a:lstStyle>
          <a:p>
            <a:pPr lvl="0"/>
            <a:r>
              <a:rPr lang="en-US"/>
              <a:t>No.</a:t>
            </a:r>
          </a:p>
        </p:txBody>
      </p:sp>
      <p:sp>
        <p:nvSpPr>
          <p:cNvPr id="34" name="Text Placeholder 32">
            <a:extLst>
              <a:ext uri="{FF2B5EF4-FFF2-40B4-BE49-F238E27FC236}">
                <a16:creationId xmlns:a16="http://schemas.microsoft.com/office/drawing/2014/main" id="{21BA1502-68A3-8453-E0D9-1648C5E43C6E}"/>
              </a:ext>
            </a:extLst>
          </p:cNvPr>
          <p:cNvSpPr>
            <a:spLocks noGrp="1"/>
          </p:cNvSpPr>
          <p:nvPr>
            <p:ph type="body" sz="quarter" idx="14"/>
          </p:nvPr>
        </p:nvSpPr>
        <p:spPr>
          <a:xfrm>
            <a:off x="763624" y="5048473"/>
            <a:ext cx="5044343" cy="1186102"/>
          </a:xfrm>
        </p:spPr>
        <p:txBody>
          <a:bodyPr anchor="t"/>
          <a:lstStyle>
            <a:lvl1pPr marL="0" indent="0">
              <a:spcBef>
                <a:spcPts val="0"/>
              </a:spcBef>
              <a:buNone/>
              <a:defRPr sz="3150">
                <a:solidFill>
                  <a:schemeClr val="bg1"/>
                </a:solidFill>
                <a:latin typeface="+mj-lt"/>
              </a:defRPr>
            </a:lvl1pPr>
          </a:lstStyle>
          <a:p>
            <a:pPr lvl="0"/>
            <a:endParaRPr lang="en-US"/>
          </a:p>
        </p:txBody>
      </p:sp>
      <p:grpSp>
        <p:nvGrpSpPr>
          <p:cNvPr id="3" name="Group 2">
            <a:extLst>
              <a:ext uri="{FF2B5EF4-FFF2-40B4-BE49-F238E27FC236}">
                <a16:creationId xmlns:a16="http://schemas.microsoft.com/office/drawing/2014/main" id="{DE5D0D85-08F5-0ABD-A630-D8539E95A6F6}"/>
              </a:ext>
            </a:extLst>
          </p:cNvPr>
          <p:cNvGrpSpPr>
            <a:grpSpLocks noChangeAspect="1"/>
          </p:cNvGrpSpPr>
          <p:nvPr userDrawn="1"/>
        </p:nvGrpSpPr>
        <p:grpSpPr>
          <a:xfrm>
            <a:off x="8507138" y="6238683"/>
            <a:ext cx="2962386" cy="292608"/>
            <a:chOff x="8076687" y="508520"/>
            <a:chExt cx="3706698" cy="366127"/>
          </a:xfrm>
        </p:grpSpPr>
        <p:pic>
          <p:nvPicPr>
            <p:cNvPr id="4" name="object 4">
              <a:extLst>
                <a:ext uri="{FF2B5EF4-FFF2-40B4-BE49-F238E27FC236}">
                  <a16:creationId xmlns:a16="http://schemas.microsoft.com/office/drawing/2014/main" id="{FBDE13D4-D134-43CD-FC18-CC41A4CD38C1}"/>
                </a:ext>
              </a:extLst>
            </p:cNvPr>
            <p:cNvPicPr/>
            <p:nvPr/>
          </p:nvPicPr>
          <p:blipFill>
            <a:blip r:embed="rId3" cstate="print"/>
            <a:stretch>
              <a:fillRect/>
            </a:stretch>
          </p:blipFill>
          <p:spPr>
            <a:xfrm>
              <a:off x="9444187" y="568546"/>
              <a:ext cx="1372592" cy="246070"/>
            </a:xfrm>
            <a:prstGeom prst="rect">
              <a:avLst/>
            </a:prstGeom>
          </p:spPr>
        </p:pic>
        <p:sp>
          <p:nvSpPr>
            <p:cNvPr id="5" name="object 7">
              <a:extLst>
                <a:ext uri="{FF2B5EF4-FFF2-40B4-BE49-F238E27FC236}">
                  <a16:creationId xmlns:a16="http://schemas.microsoft.com/office/drawing/2014/main" id="{3C699F49-05FA-BD65-007A-9207DF69D017}"/>
                </a:ext>
              </a:extLst>
            </p:cNvPr>
            <p:cNvSpPr/>
            <p:nvPr/>
          </p:nvSpPr>
          <p:spPr>
            <a:xfrm>
              <a:off x="9291578" y="508520"/>
              <a:ext cx="0" cy="366127"/>
            </a:xfrm>
            <a:custGeom>
              <a:avLst/>
              <a:gdLst/>
              <a:ahLst/>
              <a:cxnLst/>
              <a:rect l="l" t="t" r="r" b="b"/>
              <a:pathLst>
                <a:path h="603885">
                  <a:moveTo>
                    <a:pt x="0" y="0"/>
                  </a:moveTo>
                  <a:lnTo>
                    <a:pt x="0" y="603876"/>
                  </a:lnTo>
                </a:path>
              </a:pathLst>
            </a:custGeom>
            <a:ln w="8481">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Real Text Pro"/>
                <a:ea typeface="+mn-ea"/>
                <a:cs typeface="+mn-cs"/>
              </a:endParaRPr>
            </a:p>
          </p:txBody>
        </p:sp>
        <p:sp>
          <p:nvSpPr>
            <p:cNvPr id="7" name="object 10">
              <a:extLst>
                <a:ext uri="{FF2B5EF4-FFF2-40B4-BE49-F238E27FC236}">
                  <a16:creationId xmlns:a16="http://schemas.microsoft.com/office/drawing/2014/main" id="{3FA750B1-D863-F27C-97A8-A0046BAEE10A}"/>
                </a:ext>
              </a:extLst>
            </p:cNvPr>
            <p:cNvSpPr/>
            <p:nvPr/>
          </p:nvSpPr>
          <p:spPr>
            <a:xfrm>
              <a:off x="10956631" y="508520"/>
              <a:ext cx="0" cy="366127"/>
            </a:xfrm>
            <a:custGeom>
              <a:avLst/>
              <a:gdLst/>
              <a:ahLst/>
              <a:cxnLst/>
              <a:rect l="l" t="t" r="r" b="b"/>
              <a:pathLst>
                <a:path h="603885">
                  <a:moveTo>
                    <a:pt x="0" y="0"/>
                  </a:moveTo>
                  <a:lnTo>
                    <a:pt x="0" y="603876"/>
                  </a:lnTo>
                </a:path>
              </a:pathLst>
            </a:custGeom>
            <a:ln w="8481">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Real Text Pro"/>
                <a:ea typeface="+mn-ea"/>
                <a:cs typeface="+mn-cs"/>
              </a:endParaRPr>
            </a:p>
          </p:txBody>
        </p:sp>
        <p:grpSp>
          <p:nvGrpSpPr>
            <p:cNvPr id="11" name="object 11">
              <a:extLst>
                <a:ext uri="{FF2B5EF4-FFF2-40B4-BE49-F238E27FC236}">
                  <a16:creationId xmlns:a16="http://schemas.microsoft.com/office/drawing/2014/main" id="{53EDC8B7-C5C1-8CF3-D1FA-D53FD844A657}"/>
                </a:ext>
              </a:extLst>
            </p:cNvPr>
            <p:cNvGrpSpPr/>
            <p:nvPr/>
          </p:nvGrpSpPr>
          <p:grpSpPr>
            <a:xfrm>
              <a:off x="8076687" y="510423"/>
              <a:ext cx="483549" cy="362662"/>
              <a:chOff x="13318969" y="840809"/>
              <a:chExt cx="797560" cy="598170"/>
            </a:xfrm>
          </p:grpSpPr>
          <p:sp>
            <p:nvSpPr>
              <p:cNvPr id="24" name="object 12">
                <a:extLst>
                  <a:ext uri="{FF2B5EF4-FFF2-40B4-BE49-F238E27FC236}">
                    <a16:creationId xmlns:a16="http://schemas.microsoft.com/office/drawing/2014/main" id="{E51B3043-DC42-9625-005B-8B8396B17074}"/>
                  </a:ext>
                </a:extLst>
              </p:cNvPr>
              <p:cNvSpPr/>
              <p:nvPr/>
            </p:nvSpPr>
            <p:spPr>
              <a:xfrm>
                <a:off x="13318969" y="840809"/>
                <a:ext cx="797560" cy="598170"/>
              </a:xfrm>
              <a:custGeom>
                <a:avLst/>
                <a:gdLst/>
                <a:ahLst/>
                <a:cxnLst/>
                <a:rect l="l" t="t" r="r" b="b"/>
                <a:pathLst>
                  <a:path w="797559" h="598169">
                    <a:moveTo>
                      <a:pt x="137974" y="499110"/>
                    </a:moveTo>
                    <a:lnTo>
                      <a:pt x="99400" y="499110"/>
                    </a:lnTo>
                    <a:lnTo>
                      <a:pt x="99400" y="530860"/>
                    </a:lnTo>
                    <a:lnTo>
                      <a:pt x="104731" y="557530"/>
                    </a:lnTo>
                    <a:lnTo>
                      <a:pt x="119260" y="579120"/>
                    </a:lnTo>
                    <a:lnTo>
                      <a:pt x="140791" y="593090"/>
                    </a:lnTo>
                    <a:lnTo>
                      <a:pt x="167125" y="598170"/>
                    </a:lnTo>
                    <a:lnTo>
                      <a:pt x="633006" y="598170"/>
                    </a:lnTo>
                    <a:lnTo>
                      <a:pt x="659341" y="593090"/>
                    </a:lnTo>
                    <a:lnTo>
                      <a:pt x="680871" y="579120"/>
                    </a:lnTo>
                    <a:lnTo>
                      <a:pt x="693691" y="560070"/>
                    </a:lnTo>
                    <a:lnTo>
                      <a:pt x="167125" y="560070"/>
                    </a:lnTo>
                    <a:lnTo>
                      <a:pt x="155790" y="557530"/>
                    </a:lnTo>
                    <a:lnTo>
                      <a:pt x="146523" y="551180"/>
                    </a:lnTo>
                    <a:lnTo>
                      <a:pt x="140269" y="542290"/>
                    </a:lnTo>
                    <a:lnTo>
                      <a:pt x="137974" y="530860"/>
                    </a:lnTo>
                    <a:lnTo>
                      <a:pt x="137974" y="499110"/>
                    </a:lnTo>
                    <a:close/>
                  </a:path>
                  <a:path w="797559" h="598169">
                    <a:moveTo>
                      <a:pt x="700732" y="529590"/>
                    </a:moveTo>
                    <a:lnTo>
                      <a:pt x="662157" y="529590"/>
                    </a:lnTo>
                    <a:lnTo>
                      <a:pt x="662157" y="530860"/>
                    </a:lnTo>
                    <a:lnTo>
                      <a:pt x="659863" y="542290"/>
                    </a:lnTo>
                    <a:lnTo>
                      <a:pt x="653609" y="551180"/>
                    </a:lnTo>
                    <a:lnTo>
                      <a:pt x="644342" y="557530"/>
                    </a:lnTo>
                    <a:lnTo>
                      <a:pt x="633006" y="560070"/>
                    </a:lnTo>
                    <a:lnTo>
                      <a:pt x="693691" y="560070"/>
                    </a:lnTo>
                    <a:lnTo>
                      <a:pt x="695401" y="557530"/>
                    </a:lnTo>
                    <a:lnTo>
                      <a:pt x="700732" y="530860"/>
                    </a:lnTo>
                    <a:lnTo>
                      <a:pt x="700732" y="529590"/>
                    </a:lnTo>
                    <a:close/>
                  </a:path>
                  <a:path w="797559" h="598169">
                    <a:moveTo>
                      <a:pt x="424948" y="499110"/>
                    </a:moveTo>
                    <a:lnTo>
                      <a:pt x="393349" y="499110"/>
                    </a:lnTo>
                    <a:lnTo>
                      <a:pt x="468257" y="529590"/>
                    </a:lnTo>
                    <a:lnTo>
                      <a:pt x="743432" y="529590"/>
                    </a:lnTo>
                    <a:lnTo>
                      <a:pt x="746578" y="538480"/>
                    </a:lnTo>
                    <a:lnTo>
                      <a:pt x="752524" y="546100"/>
                    </a:lnTo>
                    <a:lnTo>
                      <a:pt x="760625" y="549910"/>
                    </a:lnTo>
                    <a:lnTo>
                      <a:pt x="770238" y="552450"/>
                    </a:lnTo>
                    <a:lnTo>
                      <a:pt x="780805" y="549910"/>
                    </a:lnTo>
                    <a:lnTo>
                      <a:pt x="789443" y="543560"/>
                    </a:lnTo>
                    <a:lnTo>
                      <a:pt x="792357" y="539750"/>
                    </a:lnTo>
                    <a:lnTo>
                      <a:pt x="761798" y="539750"/>
                    </a:lnTo>
                    <a:lnTo>
                      <a:pt x="754929" y="533400"/>
                    </a:lnTo>
                    <a:lnTo>
                      <a:pt x="754929" y="516890"/>
                    </a:lnTo>
                    <a:lnTo>
                      <a:pt x="470551" y="516890"/>
                    </a:lnTo>
                    <a:lnTo>
                      <a:pt x="424948" y="499110"/>
                    </a:lnTo>
                    <a:close/>
                  </a:path>
                  <a:path w="797559" h="598169">
                    <a:moveTo>
                      <a:pt x="791941" y="509270"/>
                    </a:moveTo>
                    <a:lnTo>
                      <a:pt x="778677" y="509270"/>
                    </a:lnTo>
                    <a:lnTo>
                      <a:pt x="785546" y="516890"/>
                    </a:lnTo>
                    <a:lnTo>
                      <a:pt x="785546" y="533400"/>
                    </a:lnTo>
                    <a:lnTo>
                      <a:pt x="778677" y="539750"/>
                    </a:lnTo>
                    <a:lnTo>
                      <a:pt x="792357" y="539750"/>
                    </a:lnTo>
                    <a:lnTo>
                      <a:pt x="795271" y="535940"/>
                    </a:lnTo>
                    <a:lnTo>
                      <a:pt x="797410" y="524510"/>
                    </a:lnTo>
                    <a:lnTo>
                      <a:pt x="795271" y="514350"/>
                    </a:lnTo>
                    <a:lnTo>
                      <a:pt x="791941" y="509270"/>
                    </a:lnTo>
                    <a:close/>
                  </a:path>
                  <a:path w="797559" h="598169">
                    <a:moveTo>
                      <a:pt x="27171" y="467360"/>
                    </a:moveTo>
                    <a:lnTo>
                      <a:pt x="16605" y="469900"/>
                    </a:lnTo>
                    <a:lnTo>
                      <a:pt x="7967" y="476250"/>
                    </a:lnTo>
                    <a:lnTo>
                      <a:pt x="2138" y="483870"/>
                    </a:lnTo>
                    <a:lnTo>
                      <a:pt x="0" y="495300"/>
                    </a:lnTo>
                    <a:lnTo>
                      <a:pt x="2138" y="505460"/>
                    </a:lnTo>
                    <a:lnTo>
                      <a:pt x="7967" y="514350"/>
                    </a:lnTo>
                    <a:lnTo>
                      <a:pt x="16605" y="519430"/>
                    </a:lnTo>
                    <a:lnTo>
                      <a:pt x="27171" y="521970"/>
                    </a:lnTo>
                    <a:lnTo>
                      <a:pt x="36619" y="520700"/>
                    </a:lnTo>
                    <a:lnTo>
                      <a:pt x="44625" y="515620"/>
                    </a:lnTo>
                    <a:lnTo>
                      <a:pt x="48595" y="510540"/>
                    </a:lnTo>
                    <a:lnTo>
                      <a:pt x="18732" y="510540"/>
                    </a:lnTo>
                    <a:lnTo>
                      <a:pt x="11863" y="502920"/>
                    </a:lnTo>
                    <a:lnTo>
                      <a:pt x="11863" y="486410"/>
                    </a:lnTo>
                    <a:lnTo>
                      <a:pt x="18732" y="480060"/>
                    </a:lnTo>
                    <a:lnTo>
                      <a:pt x="49792" y="480060"/>
                    </a:lnTo>
                    <a:lnTo>
                      <a:pt x="43862" y="473710"/>
                    </a:lnTo>
                    <a:lnTo>
                      <a:pt x="36150" y="468630"/>
                    </a:lnTo>
                    <a:lnTo>
                      <a:pt x="27171" y="467360"/>
                    </a:lnTo>
                    <a:close/>
                  </a:path>
                  <a:path w="797559" h="598169">
                    <a:moveTo>
                      <a:pt x="700732" y="429260"/>
                    </a:moveTo>
                    <a:lnTo>
                      <a:pt x="662157" y="429260"/>
                    </a:lnTo>
                    <a:lnTo>
                      <a:pt x="662157" y="516890"/>
                    </a:lnTo>
                    <a:lnTo>
                      <a:pt x="700732" y="516890"/>
                    </a:lnTo>
                    <a:lnTo>
                      <a:pt x="700732" y="429260"/>
                    </a:lnTo>
                    <a:close/>
                  </a:path>
                  <a:path w="797559" h="598169">
                    <a:moveTo>
                      <a:pt x="770238" y="497840"/>
                    </a:moveTo>
                    <a:lnTo>
                      <a:pt x="761427" y="499110"/>
                    </a:lnTo>
                    <a:lnTo>
                      <a:pt x="753822" y="502920"/>
                    </a:lnTo>
                    <a:lnTo>
                      <a:pt x="747909" y="509270"/>
                    </a:lnTo>
                    <a:lnTo>
                      <a:pt x="744176" y="516890"/>
                    </a:lnTo>
                    <a:lnTo>
                      <a:pt x="754929" y="516890"/>
                    </a:lnTo>
                    <a:lnTo>
                      <a:pt x="761798" y="509270"/>
                    </a:lnTo>
                    <a:lnTo>
                      <a:pt x="791941" y="509270"/>
                    </a:lnTo>
                    <a:lnTo>
                      <a:pt x="789443" y="505460"/>
                    </a:lnTo>
                    <a:lnTo>
                      <a:pt x="780805" y="500380"/>
                    </a:lnTo>
                    <a:lnTo>
                      <a:pt x="770238" y="497840"/>
                    </a:lnTo>
                    <a:close/>
                  </a:path>
                  <a:path w="797559" h="598169">
                    <a:moveTo>
                      <a:pt x="49792" y="480060"/>
                    </a:moveTo>
                    <a:lnTo>
                      <a:pt x="35611" y="480060"/>
                    </a:lnTo>
                    <a:lnTo>
                      <a:pt x="42469" y="486410"/>
                    </a:lnTo>
                    <a:lnTo>
                      <a:pt x="42469" y="502920"/>
                    </a:lnTo>
                    <a:lnTo>
                      <a:pt x="35611" y="510540"/>
                    </a:lnTo>
                    <a:lnTo>
                      <a:pt x="48595" y="510540"/>
                    </a:lnTo>
                    <a:lnTo>
                      <a:pt x="50579" y="508000"/>
                    </a:lnTo>
                    <a:lnTo>
                      <a:pt x="53872" y="500380"/>
                    </a:lnTo>
                    <a:lnTo>
                      <a:pt x="99400" y="499110"/>
                    </a:lnTo>
                    <a:lnTo>
                      <a:pt x="424948" y="499110"/>
                    </a:lnTo>
                    <a:lnTo>
                      <a:pt x="395631" y="487680"/>
                    </a:lnTo>
                    <a:lnTo>
                      <a:pt x="53422" y="487680"/>
                    </a:lnTo>
                    <a:lnTo>
                      <a:pt x="49792" y="480060"/>
                    </a:lnTo>
                    <a:close/>
                  </a:path>
                  <a:path w="797559" h="598169">
                    <a:moveTo>
                      <a:pt x="137974" y="400050"/>
                    </a:moveTo>
                    <a:lnTo>
                      <a:pt x="99400" y="400050"/>
                    </a:lnTo>
                    <a:lnTo>
                      <a:pt x="99400" y="487680"/>
                    </a:lnTo>
                    <a:lnTo>
                      <a:pt x="137974" y="487680"/>
                    </a:lnTo>
                    <a:lnTo>
                      <a:pt x="137974" y="400050"/>
                    </a:lnTo>
                    <a:close/>
                  </a:path>
                  <a:path w="797559" h="598169">
                    <a:moveTo>
                      <a:pt x="424948" y="398780"/>
                    </a:moveTo>
                    <a:lnTo>
                      <a:pt x="393349" y="398780"/>
                    </a:lnTo>
                    <a:lnTo>
                      <a:pt x="468257" y="429260"/>
                    </a:lnTo>
                    <a:lnTo>
                      <a:pt x="743432" y="429260"/>
                    </a:lnTo>
                    <a:lnTo>
                      <a:pt x="746578" y="438150"/>
                    </a:lnTo>
                    <a:lnTo>
                      <a:pt x="752524" y="445770"/>
                    </a:lnTo>
                    <a:lnTo>
                      <a:pt x="760625" y="450850"/>
                    </a:lnTo>
                    <a:lnTo>
                      <a:pt x="770238" y="452120"/>
                    </a:lnTo>
                    <a:lnTo>
                      <a:pt x="780805" y="449580"/>
                    </a:lnTo>
                    <a:lnTo>
                      <a:pt x="789443" y="444500"/>
                    </a:lnTo>
                    <a:lnTo>
                      <a:pt x="791941" y="440690"/>
                    </a:lnTo>
                    <a:lnTo>
                      <a:pt x="761798" y="440690"/>
                    </a:lnTo>
                    <a:lnTo>
                      <a:pt x="754929" y="433070"/>
                    </a:lnTo>
                    <a:lnTo>
                      <a:pt x="754929" y="416560"/>
                    </a:lnTo>
                    <a:lnTo>
                      <a:pt x="470551" y="416560"/>
                    </a:lnTo>
                    <a:lnTo>
                      <a:pt x="424948" y="398780"/>
                    </a:lnTo>
                    <a:close/>
                  </a:path>
                  <a:path w="797559" h="598169">
                    <a:moveTo>
                      <a:pt x="791941" y="408940"/>
                    </a:moveTo>
                    <a:lnTo>
                      <a:pt x="778677" y="408940"/>
                    </a:lnTo>
                    <a:lnTo>
                      <a:pt x="785546" y="416560"/>
                    </a:lnTo>
                    <a:lnTo>
                      <a:pt x="785546" y="433070"/>
                    </a:lnTo>
                    <a:lnTo>
                      <a:pt x="778677" y="440690"/>
                    </a:lnTo>
                    <a:lnTo>
                      <a:pt x="791941" y="440690"/>
                    </a:lnTo>
                    <a:lnTo>
                      <a:pt x="795271" y="435610"/>
                    </a:lnTo>
                    <a:lnTo>
                      <a:pt x="797410" y="424180"/>
                    </a:lnTo>
                    <a:lnTo>
                      <a:pt x="795271" y="414020"/>
                    </a:lnTo>
                    <a:lnTo>
                      <a:pt x="791941" y="408940"/>
                    </a:lnTo>
                    <a:close/>
                  </a:path>
                  <a:path w="797559" h="598169">
                    <a:moveTo>
                      <a:pt x="27171" y="367030"/>
                    </a:moveTo>
                    <a:lnTo>
                      <a:pt x="16605" y="369570"/>
                    </a:lnTo>
                    <a:lnTo>
                      <a:pt x="7967" y="375920"/>
                    </a:lnTo>
                    <a:lnTo>
                      <a:pt x="2138" y="383540"/>
                    </a:lnTo>
                    <a:lnTo>
                      <a:pt x="0" y="394970"/>
                    </a:lnTo>
                    <a:lnTo>
                      <a:pt x="2138" y="405130"/>
                    </a:lnTo>
                    <a:lnTo>
                      <a:pt x="7967" y="414020"/>
                    </a:lnTo>
                    <a:lnTo>
                      <a:pt x="16605" y="419100"/>
                    </a:lnTo>
                    <a:lnTo>
                      <a:pt x="27171" y="421640"/>
                    </a:lnTo>
                    <a:lnTo>
                      <a:pt x="36619" y="420370"/>
                    </a:lnTo>
                    <a:lnTo>
                      <a:pt x="44625" y="415290"/>
                    </a:lnTo>
                    <a:lnTo>
                      <a:pt x="49388" y="410210"/>
                    </a:lnTo>
                    <a:lnTo>
                      <a:pt x="18732" y="410210"/>
                    </a:lnTo>
                    <a:lnTo>
                      <a:pt x="11863" y="402590"/>
                    </a:lnTo>
                    <a:lnTo>
                      <a:pt x="11863" y="386080"/>
                    </a:lnTo>
                    <a:lnTo>
                      <a:pt x="18732" y="379730"/>
                    </a:lnTo>
                    <a:lnTo>
                      <a:pt x="49792" y="379730"/>
                    </a:lnTo>
                    <a:lnTo>
                      <a:pt x="43862" y="373380"/>
                    </a:lnTo>
                    <a:lnTo>
                      <a:pt x="36150" y="369570"/>
                    </a:lnTo>
                    <a:lnTo>
                      <a:pt x="27171" y="367030"/>
                    </a:lnTo>
                    <a:close/>
                  </a:path>
                  <a:path w="797559" h="598169">
                    <a:moveTo>
                      <a:pt x="700732" y="330200"/>
                    </a:moveTo>
                    <a:lnTo>
                      <a:pt x="662157" y="330200"/>
                    </a:lnTo>
                    <a:lnTo>
                      <a:pt x="662157" y="416560"/>
                    </a:lnTo>
                    <a:lnTo>
                      <a:pt x="700732" y="416560"/>
                    </a:lnTo>
                    <a:lnTo>
                      <a:pt x="700732" y="330200"/>
                    </a:lnTo>
                    <a:close/>
                  </a:path>
                  <a:path w="797559" h="598169">
                    <a:moveTo>
                      <a:pt x="770238" y="397510"/>
                    </a:moveTo>
                    <a:lnTo>
                      <a:pt x="761427" y="398780"/>
                    </a:lnTo>
                    <a:lnTo>
                      <a:pt x="753822" y="402590"/>
                    </a:lnTo>
                    <a:lnTo>
                      <a:pt x="747909" y="408940"/>
                    </a:lnTo>
                    <a:lnTo>
                      <a:pt x="744176" y="416560"/>
                    </a:lnTo>
                    <a:lnTo>
                      <a:pt x="754929" y="416560"/>
                    </a:lnTo>
                    <a:lnTo>
                      <a:pt x="761798" y="408940"/>
                    </a:lnTo>
                    <a:lnTo>
                      <a:pt x="791941" y="408940"/>
                    </a:lnTo>
                    <a:lnTo>
                      <a:pt x="789443" y="405130"/>
                    </a:lnTo>
                    <a:lnTo>
                      <a:pt x="780805" y="400050"/>
                    </a:lnTo>
                    <a:lnTo>
                      <a:pt x="770238" y="397510"/>
                    </a:lnTo>
                    <a:close/>
                  </a:path>
                  <a:path w="797559" h="598169">
                    <a:moveTo>
                      <a:pt x="49792" y="379730"/>
                    </a:moveTo>
                    <a:lnTo>
                      <a:pt x="35611" y="379730"/>
                    </a:lnTo>
                    <a:lnTo>
                      <a:pt x="42469" y="386080"/>
                    </a:lnTo>
                    <a:lnTo>
                      <a:pt x="42469" y="402590"/>
                    </a:lnTo>
                    <a:lnTo>
                      <a:pt x="35611" y="410210"/>
                    </a:lnTo>
                    <a:lnTo>
                      <a:pt x="49388" y="410210"/>
                    </a:lnTo>
                    <a:lnTo>
                      <a:pt x="50579" y="408940"/>
                    </a:lnTo>
                    <a:lnTo>
                      <a:pt x="53872" y="400050"/>
                    </a:lnTo>
                    <a:lnTo>
                      <a:pt x="137974" y="400050"/>
                    </a:lnTo>
                    <a:lnTo>
                      <a:pt x="424948" y="398780"/>
                    </a:lnTo>
                    <a:lnTo>
                      <a:pt x="395631" y="387350"/>
                    </a:lnTo>
                    <a:lnTo>
                      <a:pt x="53422" y="387350"/>
                    </a:lnTo>
                    <a:lnTo>
                      <a:pt x="49792" y="379730"/>
                    </a:lnTo>
                    <a:close/>
                  </a:path>
                  <a:path w="797559" h="598169">
                    <a:moveTo>
                      <a:pt x="137974" y="300990"/>
                    </a:moveTo>
                    <a:lnTo>
                      <a:pt x="99400" y="300990"/>
                    </a:lnTo>
                    <a:lnTo>
                      <a:pt x="99400" y="387350"/>
                    </a:lnTo>
                    <a:lnTo>
                      <a:pt x="137974" y="387350"/>
                    </a:lnTo>
                    <a:lnTo>
                      <a:pt x="137974" y="300990"/>
                    </a:lnTo>
                    <a:close/>
                  </a:path>
                  <a:path w="797559" h="598169">
                    <a:moveTo>
                      <a:pt x="425540" y="300990"/>
                    </a:moveTo>
                    <a:lnTo>
                      <a:pt x="393349" y="300990"/>
                    </a:lnTo>
                    <a:lnTo>
                      <a:pt x="468257" y="330200"/>
                    </a:lnTo>
                    <a:lnTo>
                      <a:pt x="743432" y="330200"/>
                    </a:lnTo>
                    <a:lnTo>
                      <a:pt x="746578" y="339090"/>
                    </a:lnTo>
                    <a:lnTo>
                      <a:pt x="752524" y="346710"/>
                    </a:lnTo>
                    <a:lnTo>
                      <a:pt x="760625" y="351790"/>
                    </a:lnTo>
                    <a:lnTo>
                      <a:pt x="770238" y="353060"/>
                    </a:lnTo>
                    <a:lnTo>
                      <a:pt x="780805" y="351790"/>
                    </a:lnTo>
                    <a:lnTo>
                      <a:pt x="789443" y="345440"/>
                    </a:lnTo>
                    <a:lnTo>
                      <a:pt x="791941" y="341630"/>
                    </a:lnTo>
                    <a:lnTo>
                      <a:pt x="761798" y="341630"/>
                    </a:lnTo>
                    <a:lnTo>
                      <a:pt x="754929" y="335280"/>
                    </a:lnTo>
                    <a:lnTo>
                      <a:pt x="754929" y="318770"/>
                    </a:lnTo>
                    <a:lnTo>
                      <a:pt x="470551" y="318770"/>
                    </a:lnTo>
                    <a:lnTo>
                      <a:pt x="425540" y="300990"/>
                    </a:lnTo>
                    <a:close/>
                  </a:path>
                  <a:path w="797559" h="598169">
                    <a:moveTo>
                      <a:pt x="791941" y="311150"/>
                    </a:moveTo>
                    <a:lnTo>
                      <a:pt x="778677" y="311150"/>
                    </a:lnTo>
                    <a:lnTo>
                      <a:pt x="785546" y="317500"/>
                    </a:lnTo>
                    <a:lnTo>
                      <a:pt x="785546" y="335280"/>
                    </a:lnTo>
                    <a:lnTo>
                      <a:pt x="778677" y="341630"/>
                    </a:lnTo>
                    <a:lnTo>
                      <a:pt x="791941" y="341630"/>
                    </a:lnTo>
                    <a:lnTo>
                      <a:pt x="795271" y="336550"/>
                    </a:lnTo>
                    <a:lnTo>
                      <a:pt x="797410" y="326390"/>
                    </a:lnTo>
                    <a:lnTo>
                      <a:pt x="795271" y="316230"/>
                    </a:lnTo>
                    <a:lnTo>
                      <a:pt x="791941" y="311150"/>
                    </a:lnTo>
                    <a:close/>
                  </a:path>
                  <a:path w="797559" h="598169">
                    <a:moveTo>
                      <a:pt x="27171" y="269240"/>
                    </a:moveTo>
                    <a:lnTo>
                      <a:pt x="16605" y="270510"/>
                    </a:lnTo>
                    <a:lnTo>
                      <a:pt x="7967" y="276860"/>
                    </a:lnTo>
                    <a:lnTo>
                      <a:pt x="2138" y="285750"/>
                    </a:lnTo>
                    <a:lnTo>
                      <a:pt x="0" y="295910"/>
                    </a:lnTo>
                    <a:lnTo>
                      <a:pt x="2138" y="306070"/>
                    </a:lnTo>
                    <a:lnTo>
                      <a:pt x="7967" y="314960"/>
                    </a:lnTo>
                    <a:lnTo>
                      <a:pt x="16605" y="321310"/>
                    </a:lnTo>
                    <a:lnTo>
                      <a:pt x="27171" y="323850"/>
                    </a:lnTo>
                    <a:lnTo>
                      <a:pt x="36619" y="321310"/>
                    </a:lnTo>
                    <a:lnTo>
                      <a:pt x="44625" y="317500"/>
                    </a:lnTo>
                    <a:lnTo>
                      <a:pt x="49587" y="311150"/>
                    </a:lnTo>
                    <a:lnTo>
                      <a:pt x="18732" y="311150"/>
                    </a:lnTo>
                    <a:lnTo>
                      <a:pt x="11863" y="304800"/>
                    </a:lnTo>
                    <a:lnTo>
                      <a:pt x="11863" y="288290"/>
                    </a:lnTo>
                    <a:lnTo>
                      <a:pt x="18732" y="280670"/>
                    </a:lnTo>
                    <a:lnTo>
                      <a:pt x="49792" y="280670"/>
                    </a:lnTo>
                    <a:lnTo>
                      <a:pt x="43862" y="274320"/>
                    </a:lnTo>
                    <a:lnTo>
                      <a:pt x="36150" y="270510"/>
                    </a:lnTo>
                    <a:lnTo>
                      <a:pt x="27171" y="269240"/>
                    </a:lnTo>
                    <a:close/>
                  </a:path>
                  <a:path w="797559" h="598169">
                    <a:moveTo>
                      <a:pt x="700732" y="231140"/>
                    </a:moveTo>
                    <a:lnTo>
                      <a:pt x="662157" y="231140"/>
                    </a:lnTo>
                    <a:lnTo>
                      <a:pt x="662157" y="318770"/>
                    </a:lnTo>
                    <a:lnTo>
                      <a:pt x="700732" y="318770"/>
                    </a:lnTo>
                    <a:lnTo>
                      <a:pt x="700732" y="231140"/>
                    </a:lnTo>
                    <a:close/>
                  </a:path>
                  <a:path w="797559" h="598169">
                    <a:moveTo>
                      <a:pt x="770238" y="298450"/>
                    </a:moveTo>
                    <a:lnTo>
                      <a:pt x="761427" y="300990"/>
                    </a:lnTo>
                    <a:lnTo>
                      <a:pt x="753822" y="304800"/>
                    </a:lnTo>
                    <a:lnTo>
                      <a:pt x="747909" y="311150"/>
                    </a:lnTo>
                    <a:lnTo>
                      <a:pt x="744176" y="318770"/>
                    </a:lnTo>
                    <a:lnTo>
                      <a:pt x="754929" y="318770"/>
                    </a:lnTo>
                    <a:lnTo>
                      <a:pt x="754929" y="317500"/>
                    </a:lnTo>
                    <a:lnTo>
                      <a:pt x="761798" y="311150"/>
                    </a:lnTo>
                    <a:lnTo>
                      <a:pt x="791941" y="311150"/>
                    </a:lnTo>
                    <a:lnTo>
                      <a:pt x="789443" y="307340"/>
                    </a:lnTo>
                    <a:lnTo>
                      <a:pt x="780805" y="300990"/>
                    </a:lnTo>
                    <a:lnTo>
                      <a:pt x="770238" y="298450"/>
                    </a:lnTo>
                    <a:close/>
                  </a:path>
                  <a:path w="797559" h="598169">
                    <a:moveTo>
                      <a:pt x="49792" y="280670"/>
                    </a:moveTo>
                    <a:lnTo>
                      <a:pt x="35611" y="280670"/>
                    </a:lnTo>
                    <a:lnTo>
                      <a:pt x="42469" y="288290"/>
                    </a:lnTo>
                    <a:lnTo>
                      <a:pt x="42469" y="304800"/>
                    </a:lnTo>
                    <a:lnTo>
                      <a:pt x="35611" y="311150"/>
                    </a:lnTo>
                    <a:lnTo>
                      <a:pt x="49587" y="311150"/>
                    </a:lnTo>
                    <a:lnTo>
                      <a:pt x="50579" y="309880"/>
                    </a:lnTo>
                    <a:lnTo>
                      <a:pt x="53872" y="300990"/>
                    </a:lnTo>
                    <a:lnTo>
                      <a:pt x="425540" y="300990"/>
                    </a:lnTo>
                    <a:lnTo>
                      <a:pt x="399820" y="290830"/>
                    </a:lnTo>
                    <a:lnTo>
                      <a:pt x="399820" y="289560"/>
                    </a:lnTo>
                    <a:lnTo>
                      <a:pt x="53422" y="289560"/>
                    </a:lnTo>
                    <a:lnTo>
                      <a:pt x="49792" y="280670"/>
                    </a:lnTo>
                    <a:close/>
                  </a:path>
                  <a:path w="797559" h="598169">
                    <a:moveTo>
                      <a:pt x="137974" y="200660"/>
                    </a:moveTo>
                    <a:lnTo>
                      <a:pt x="99400" y="200660"/>
                    </a:lnTo>
                    <a:lnTo>
                      <a:pt x="99400" y="289560"/>
                    </a:lnTo>
                    <a:lnTo>
                      <a:pt x="399820" y="289560"/>
                    </a:lnTo>
                    <a:lnTo>
                      <a:pt x="399820" y="285750"/>
                    </a:lnTo>
                    <a:lnTo>
                      <a:pt x="137974" y="285750"/>
                    </a:lnTo>
                    <a:lnTo>
                      <a:pt x="137974" y="200660"/>
                    </a:lnTo>
                    <a:close/>
                  </a:path>
                  <a:path w="797559" h="598169">
                    <a:moveTo>
                      <a:pt x="399820" y="38100"/>
                    </a:moveTo>
                    <a:lnTo>
                      <a:pt x="387956" y="38100"/>
                    </a:lnTo>
                    <a:lnTo>
                      <a:pt x="387956" y="285750"/>
                    </a:lnTo>
                    <a:lnTo>
                      <a:pt x="399820" y="285750"/>
                    </a:lnTo>
                    <a:lnTo>
                      <a:pt x="399820" y="203200"/>
                    </a:lnTo>
                    <a:lnTo>
                      <a:pt x="431970" y="203200"/>
                    </a:lnTo>
                    <a:lnTo>
                      <a:pt x="399820" y="190500"/>
                    </a:lnTo>
                    <a:lnTo>
                      <a:pt x="399820" y="102870"/>
                    </a:lnTo>
                    <a:lnTo>
                      <a:pt x="431970" y="102870"/>
                    </a:lnTo>
                    <a:lnTo>
                      <a:pt x="399820" y="90170"/>
                    </a:lnTo>
                    <a:lnTo>
                      <a:pt x="399820" y="38100"/>
                    </a:lnTo>
                    <a:close/>
                  </a:path>
                  <a:path w="797559" h="598169">
                    <a:moveTo>
                      <a:pt x="431970" y="203200"/>
                    </a:moveTo>
                    <a:lnTo>
                      <a:pt x="399820" y="203200"/>
                    </a:lnTo>
                    <a:lnTo>
                      <a:pt x="468257" y="231140"/>
                    </a:lnTo>
                    <a:lnTo>
                      <a:pt x="743432" y="231140"/>
                    </a:lnTo>
                    <a:lnTo>
                      <a:pt x="746578" y="240030"/>
                    </a:lnTo>
                    <a:lnTo>
                      <a:pt x="752524" y="247650"/>
                    </a:lnTo>
                    <a:lnTo>
                      <a:pt x="760625" y="251460"/>
                    </a:lnTo>
                    <a:lnTo>
                      <a:pt x="770238" y="254000"/>
                    </a:lnTo>
                    <a:lnTo>
                      <a:pt x="780805" y="251460"/>
                    </a:lnTo>
                    <a:lnTo>
                      <a:pt x="789443" y="246380"/>
                    </a:lnTo>
                    <a:lnTo>
                      <a:pt x="792773" y="241300"/>
                    </a:lnTo>
                    <a:lnTo>
                      <a:pt x="761798" y="241300"/>
                    </a:lnTo>
                    <a:lnTo>
                      <a:pt x="754929" y="234950"/>
                    </a:lnTo>
                    <a:lnTo>
                      <a:pt x="754929" y="218440"/>
                    </a:lnTo>
                    <a:lnTo>
                      <a:pt x="470551" y="218440"/>
                    </a:lnTo>
                    <a:lnTo>
                      <a:pt x="431970" y="203200"/>
                    </a:lnTo>
                    <a:close/>
                  </a:path>
                  <a:path w="797559" h="598169">
                    <a:moveTo>
                      <a:pt x="791941" y="210820"/>
                    </a:moveTo>
                    <a:lnTo>
                      <a:pt x="778677" y="210820"/>
                    </a:lnTo>
                    <a:lnTo>
                      <a:pt x="785546" y="218440"/>
                    </a:lnTo>
                    <a:lnTo>
                      <a:pt x="785546" y="234950"/>
                    </a:lnTo>
                    <a:lnTo>
                      <a:pt x="778677" y="241300"/>
                    </a:lnTo>
                    <a:lnTo>
                      <a:pt x="792773" y="241300"/>
                    </a:lnTo>
                    <a:lnTo>
                      <a:pt x="795271" y="237490"/>
                    </a:lnTo>
                    <a:lnTo>
                      <a:pt x="797410" y="226060"/>
                    </a:lnTo>
                    <a:lnTo>
                      <a:pt x="795271" y="215900"/>
                    </a:lnTo>
                    <a:lnTo>
                      <a:pt x="791941" y="210820"/>
                    </a:lnTo>
                    <a:close/>
                  </a:path>
                  <a:path w="797559" h="598169">
                    <a:moveTo>
                      <a:pt x="27171" y="168910"/>
                    </a:moveTo>
                    <a:lnTo>
                      <a:pt x="16605" y="171450"/>
                    </a:lnTo>
                    <a:lnTo>
                      <a:pt x="7967" y="177800"/>
                    </a:lnTo>
                    <a:lnTo>
                      <a:pt x="2138" y="185420"/>
                    </a:lnTo>
                    <a:lnTo>
                      <a:pt x="0" y="196850"/>
                    </a:lnTo>
                    <a:lnTo>
                      <a:pt x="2138" y="207010"/>
                    </a:lnTo>
                    <a:lnTo>
                      <a:pt x="7967" y="215900"/>
                    </a:lnTo>
                    <a:lnTo>
                      <a:pt x="16605" y="220980"/>
                    </a:lnTo>
                    <a:lnTo>
                      <a:pt x="27171" y="223520"/>
                    </a:lnTo>
                    <a:lnTo>
                      <a:pt x="36621" y="222250"/>
                    </a:lnTo>
                    <a:lnTo>
                      <a:pt x="44629" y="217170"/>
                    </a:lnTo>
                    <a:lnTo>
                      <a:pt x="49393" y="212090"/>
                    </a:lnTo>
                    <a:lnTo>
                      <a:pt x="18732" y="212090"/>
                    </a:lnTo>
                    <a:lnTo>
                      <a:pt x="11863" y="204470"/>
                    </a:lnTo>
                    <a:lnTo>
                      <a:pt x="11863" y="187960"/>
                    </a:lnTo>
                    <a:lnTo>
                      <a:pt x="18732" y="181610"/>
                    </a:lnTo>
                    <a:lnTo>
                      <a:pt x="49792" y="181610"/>
                    </a:lnTo>
                    <a:lnTo>
                      <a:pt x="43862" y="175260"/>
                    </a:lnTo>
                    <a:lnTo>
                      <a:pt x="36150" y="171450"/>
                    </a:lnTo>
                    <a:lnTo>
                      <a:pt x="27171" y="168910"/>
                    </a:lnTo>
                    <a:close/>
                  </a:path>
                  <a:path w="797559" h="598169">
                    <a:moveTo>
                      <a:pt x="700732" y="129540"/>
                    </a:moveTo>
                    <a:lnTo>
                      <a:pt x="662157" y="129540"/>
                    </a:lnTo>
                    <a:lnTo>
                      <a:pt x="662157" y="218440"/>
                    </a:lnTo>
                    <a:lnTo>
                      <a:pt x="700732" y="218440"/>
                    </a:lnTo>
                    <a:lnTo>
                      <a:pt x="700732" y="129540"/>
                    </a:lnTo>
                    <a:close/>
                  </a:path>
                  <a:path w="797559" h="598169">
                    <a:moveTo>
                      <a:pt x="770238" y="199390"/>
                    </a:moveTo>
                    <a:lnTo>
                      <a:pt x="761427" y="200660"/>
                    </a:lnTo>
                    <a:lnTo>
                      <a:pt x="753822" y="204470"/>
                    </a:lnTo>
                    <a:lnTo>
                      <a:pt x="747909" y="210820"/>
                    </a:lnTo>
                    <a:lnTo>
                      <a:pt x="744176" y="218440"/>
                    </a:lnTo>
                    <a:lnTo>
                      <a:pt x="754929" y="218440"/>
                    </a:lnTo>
                    <a:lnTo>
                      <a:pt x="761798" y="210820"/>
                    </a:lnTo>
                    <a:lnTo>
                      <a:pt x="791941" y="210820"/>
                    </a:lnTo>
                    <a:lnTo>
                      <a:pt x="789443" y="207010"/>
                    </a:lnTo>
                    <a:lnTo>
                      <a:pt x="780805" y="201930"/>
                    </a:lnTo>
                    <a:lnTo>
                      <a:pt x="770238" y="199390"/>
                    </a:lnTo>
                    <a:close/>
                  </a:path>
                  <a:path w="797559" h="598169">
                    <a:moveTo>
                      <a:pt x="49792" y="181610"/>
                    </a:moveTo>
                    <a:lnTo>
                      <a:pt x="35611" y="181610"/>
                    </a:lnTo>
                    <a:lnTo>
                      <a:pt x="42469" y="187960"/>
                    </a:lnTo>
                    <a:lnTo>
                      <a:pt x="42469" y="204470"/>
                    </a:lnTo>
                    <a:lnTo>
                      <a:pt x="35611" y="212090"/>
                    </a:lnTo>
                    <a:lnTo>
                      <a:pt x="49393" y="212090"/>
                    </a:lnTo>
                    <a:lnTo>
                      <a:pt x="50584" y="210820"/>
                    </a:lnTo>
                    <a:lnTo>
                      <a:pt x="53872" y="201930"/>
                    </a:lnTo>
                    <a:lnTo>
                      <a:pt x="99400" y="200660"/>
                    </a:lnTo>
                    <a:lnTo>
                      <a:pt x="137974" y="200660"/>
                    </a:lnTo>
                    <a:lnTo>
                      <a:pt x="137974" y="189230"/>
                    </a:lnTo>
                    <a:lnTo>
                      <a:pt x="53422" y="189230"/>
                    </a:lnTo>
                    <a:lnTo>
                      <a:pt x="49792" y="181610"/>
                    </a:lnTo>
                    <a:close/>
                  </a:path>
                  <a:path w="797559" h="598169">
                    <a:moveTo>
                      <a:pt x="137974" y="100330"/>
                    </a:moveTo>
                    <a:lnTo>
                      <a:pt x="99400" y="100330"/>
                    </a:lnTo>
                    <a:lnTo>
                      <a:pt x="99400" y="189230"/>
                    </a:lnTo>
                    <a:lnTo>
                      <a:pt x="137974" y="189230"/>
                    </a:lnTo>
                    <a:lnTo>
                      <a:pt x="137974" y="100330"/>
                    </a:lnTo>
                    <a:close/>
                  </a:path>
                  <a:path w="797559" h="598169">
                    <a:moveTo>
                      <a:pt x="431970" y="102870"/>
                    </a:moveTo>
                    <a:lnTo>
                      <a:pt x="399820" y="102870"/>
                    </a:lnTo>
                    <a:lnTo>
                      <a:pt x="468257" y="129540"/>
                    </a:lnTo>
                    <a:lnTo>
                      <a:pt x="743432" y="129540"/>
                    </a:lnTo>
                    <a:lnTo>
                      <a:pt x="746578" y="138430"/>
                    </a:lnTo>
                    <a:lnTo>
                      <a:pt x="752524" y="146050"/>
                    </a:lnTo>
                    <a:lnTo>
                      <a:pt x="760625" y="151130"/>
                    </a:lnTo>
                    <a:lnTo>
                      <a:pt x="770238" y="152400"/>
                    </a:lnTo>
                    <a:lnTo>
                      <a:pt x="780805" y="151130"/>
                    </a:lnTo>
                    <a:lnTo>
                      <a:pt x="789443" y="144780"/>
                    </a:lnTo>
                    <a:lnTo>
                      <a:pt x="791941" y="140970"/>
                    </a:lnTo>
                    <a:lnTo>
                      <a:pt x="761798" y="140970"/>
                    </a:lnTo>
                    <a:lnTo>
                      <a:pt x="754929" y="134620"/>
                    </a:lnTo>
                    <a:lnTo>
                      <a:pt x="754929" y="118110"/>
                    </a:lnTo>
                    <a:lnTo>
                      <a:pt x="470551" y="118110"/>
                    </a:lnTo>
                    <a:lnTo>
                      <a:pt x="431970" y="102870"/>
                    </a:lnTo>
                    <a:close/>
                  </a:path>
                  <a:path w="797559" h="598169">
                    <a:moveTo>
                      <a:pt x="791941" y="110490"/>
                    </a:moveTo>
                    <a:lnTo>
                      <a:pt x="778677" y="110490"/>
                    </a:lnTo>
                    <a:lnTo>
                      <a:pt x="785546" y="116840"/>
                    </a:lnTo>
                    <a:lnTo>
                      <a:pt x="785546" y="134620"/>
                    </a:lnTo>
                    <a:lnTo>
                      <a:pt x="778677" y="140970"/>
                    </a:lnTo>
                    <a:lnTo>
                      <a:pt x="791941" y="140970"/>
                    </a:lnTo>
                    <a:lnTo>
                      <a:pt x="795271" y="135890"/>
                    </a:lnTo>
                    <a:lnTo>
                      <a:pt x="797410" y="125730"/>
                    </a:lnTo>
                    <a:lnTo>
                      <a:pt x="795271" y="115570"/>
                    </a:lnTo>
                    <a:lnTo>
                      <a:pt x="791941" y="110490"/>
                    </a:lnTo>
                    <a:close/>
                  </a:path>
                  <a:path w="797559" h="598169">
                    <a:moveTo>
                      <a:pt x="27171" y="68580"/>
                    </a:moveTo>
                    <a:lnTo>
                      <a:pt x="16605" y="69850"/>
                    </a:lnTo>
                    <a:lnTo>
                      <a:pt x="7967" y="76200"/>
                    </a:lnTo>
                    <a:lnTo>
                      <a:pt x="2138" y="85090"/>
                    </a:lnTo>
                    <a:lnTo>
                      <a:pt x="0" y="95250"/>
                    </a:lnTo>
                    <a:lnTo>
                      <a:pt x="2138" y="105410"/>
                    </a:lnTo>
                    <a:lnTo>
                      <a:pt x="7967" y="114300"/>
                    </a:lnTo>
                    <a:lnTo>
                      <a:pt x="16605" y="120650"/>
                    </a:lnTo>
                    <a:lnTo>
                      <a:pt x="27171" y="123190"/>
                    </a:lnTo>
                    <a:lnTo>
                      <a:pt x="36621" y="120650"/>
                    </a:lnTo>
                    <a:lnTo>
                      <a:pt x="44629" y="116840"/>
                    </a:lnTo>
                    <a:lnTo>
                      <a:pt x="49591" y="110490"/>
                    </a:lnTo>
                    <a:lnTo>
                      <a:pt x="18732" y="110490"/>
                    </a:lnTo>
                    <a:lnTo>
                      <a:pt x="11863" y="104140"/>
                    </a:lnTo>
                    <a:lnTo>
                      <a:pt x="11863" y="87630"/>
                    </a:lnTo>
                    <a:lnTo>
                      <a:pt x="18732" y="80010"/>
                    </a:lnTo>
                    <a:lnTo>
                      <a:pt x="49792" y="80010"/>
                    </a:lnTo>
                    <a:lnTo>
                      <a:pt x="43862" y="73660"/>
                    </a:lnTo>
                    <a:lnTo>
                      <a:pt x="36150" y="69850"/>
                    </a:lnTo>
                    <a:lnTo>
                      <a:pt x="27171" y="68580"/>
                    </a:lnTo>
                    <a:close/>
                  </a:path>
                  <a:path w="797559" h="598169">
                    <a:moveTo>
                      <a:pt x="692837" y="38100"/>
                    </a:moveTo>
                    <a:lnTo>
                      <a:pt x="633006" y="38100"/>
                    </a:lnTo>
                    <a:lnTo>
                      <a:pt x="644342" y="40640"/>
                    </a:lnTo>
                    <a:lnTo>
                      <a:pt x="653609" y="46990"/>
                    </a:lnTo>
                    <a:lnTo>
                      <a:pt x="659863" y="55880"/>
                    </a:lnTo>
                    <a:lnTo>
                      <a:pt x="662157" y="67310"/>
                    </a:lnTo>
                    <a:lnTo>
                      <a:pt x="662157" y="118110"/>
                    </a:lnTo>
                    <a:lnTo>
                      <a:pt x="700732" y="118110"/>
                    </a:lnTo>
                    <a:lnTo>
                      <a:pt x="700732" y="67310"/>
                    </a:lnTo>
                    <a:lnTo>
                      <a:pt x="695401" y="41910"/>
                    </a:lnTo>
                    <a:lnTo>
                      <a:pt x="692837" y="38100"/>
                    </a:lnTo>
                    <a:close/>
                  </a:path>
                  <a:path w="797559" h="598169">
                    <a:moveTo>
                      <a:pt x="770238" y="97790"/>
                    </a:moveTo>
                    <a:lnTo>
                      <a:pt x="761427" y="100330"/>
                    </a:lnTo>
                    <a:lnTo>
                      <a:pt x="753822" y="104140"/>
                    </a:lnTo>
                    <a:lnTo>
                      <a:pt x="747909" y="110490"/>
                    </a:lnTo>
                    <a:lnTo>
                      <a:pt x="744176" y="118110"/>
                    </a:lnTo>
                    <a:lnTo>
                      <a:pt x="754929" y="118110"/>
                    </a:lnTo>
                    <a:lnTo>
                      <a:pt x="754929" y="116840"/>
                    </a:lnTo>
                    <a:lnTo>
                      <a:pt x="761798" y="110490"/>
                    </a:lnTo>
                    <a:lnTo>
                      <a:pt x="791941" y="110490"/>
                    </a:lnTo>
                    <a:lnTo>
                      <a:pt x="789443" y="106680"/>
                    </a:lnTo>
                    <a:lnTo>
                      <a:pt x="780805" y="100330"/>
                    </a:lnTo>
                    <a:lnTo>
                      <a:pt x="770238" y="97790"/>
                    </a:lnTo>
                    <a:close/>
                  </a:path>
                  <a:path w="797559" h="598169">
                    <a:moveTo>
                      <a:pt x="49792" y="80010"/>
                    </a:moveTo>
                    <a:lnTo>
                      <a:pt x="35611" y="80010"/>
                    </a:lnTo>
                    <a:lnTo>
                      <a:pt x="42469" y="87630"/>
                    </a:lnTo>
                    <a:lnTo>
                      <a:pt x="42469" y="104140"/>
                    </a:lnTo>
                    <a:lnTo>
                      <a:pt x="35611" y="110490"/>
                    </a:lnTo>
                    <a:lnTo>
                      <a:pt x="49591" y="110490"/>
                    </a:lnTo>
                    <a:lnTo>
                      <a:pt x="50584" y="109220"/>
                    </a:lnTo>
                    <a:lnTo>
                      <a:pt x="53872" y="100330"/>
                    </a:lnTo>
                    <a:lnTo>
                      <a:pt x="137974" y="100330"/>
                    </a:lnTo>
                    <a:lnTo>
                      <a:pt x="137974" y="88900"/>
                    </a:lnTo>
                    <a:lnTo>
                      <a:pt x="53422" y="88900"/>
                    </a:lnTo>
                    <a:lnTo>
                      <a:pt x="49792" y="80010"/>
                    </a:lnTo>
                    <a:close/>
                  </a:path>
                  <a:path w="797559" h="598169">
                    <a:moveTo>
                      <a:pt x="633006" y="0"/>
                    </a:moveTo>
                    <a:lnTo>
                      <a:pt x="167125" y="0"/>
                    </a:lnTo>
                    <a:lnTo>
                      <a:pt x="140791" y="5080"/>
                    </a:lnTo>
                    <a:lnTo>
                      <a:pt x="119260" y="20320"/>
                    </a:lnTo>
                    <a:lnTo>
                      <a:pt x="104731" y="41910"/>
                    </a:lnTo>
                    <a:lnTo>
                      <a:pt x="99400" y="67310"/>
                    </a:lnTo>
                    <a:lnTo>
                      <a:pt x="99400" y="87630"/>
                    </a:lnTo>
                    <a:lnTo>
                      <a:pt x="53422" y="88900"/>
                    </a:lnTo>
                    <a:lnTo>
                      <a:pt x="137974" y="88900"/>
                    </a:lnTo>
                    <a:lnTo>
                      <a:pt x="137974" y="67310"/>
                    </a:lnTo>
                    <a:lnTo>
                      <a:pt x="140269" y="55880"/>
                    </a:lnTo>
                    <a:lnTo>
                      <a:pt x="146523" y="46990"/>
                    </a:lnTo>
                    <a:lnTo>
                      <a:pt x="155790" y="40640"/>
                    </a:lnTo>
                    <a:lnTo>
                      <a:pt x="167125" y="38100"/>
                    </a:lnTo>
                    <a:lnTo>
                      <a:pt x="692837" y="38100"/>
                    </a:lnTo>
                    <a:lnTo>
                      <a:pt x="680871" y="20320"/>
                    </a:lnTo>
                    <a:lnTo>
                      <a:pt x="659341" y="5080"/>
                    </a:lnTo>
                    <a:lnTo>
                      <a:pt x="633006"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Real Text Pro"/>
                  <a:ea typeface="+mn-ea"/>
                  <a:cs typeface="+mn-cs"/>
                </a:endParaRPr>
              </a:p>
            </p:txBody>
          </p:sp>
          <p:pic>
            <p:nvPicPr>
              <p:cNvPr id="25" name="object 13">
                <a:extLst>
                  <a:ext uri="{FF2B5EF4-FFF2-40B4-BE49-F238E27FC236}">
                    <a16:creationId xmlns:a16="http://schemas.microsoft.com/office/drawing/2014/main" id="{5B092B21-3C65-74FF-3DA4-C78C881943DA}"/>
                  </a:ext>
                </a:extLst>
              </p:cNvPr>
              <p:cNvPicPr/>
              <p:nvPr/>
            </p:nvPicPr>
            <p:blipFill>
              <a:blip r:embed="rId4" cstate="print"/>
              <a:stretch>
                <a:fillRect/>
              </a:stretch>
            </p:blipFill>
            <p:spPr>
              <a:xfrm>
                <a:off x="13479218" y="899211"/>
                <a:ext cx="206204" cy="209910"/>
              </a:xfrm>
              <a:prstGeom prst="rect">
                <a:avLst/>
              </a:prstGeom>
            </p:spPr>
          </p:pic>
        </p:grpSp>
        <p:grpSp>
          <p:nvGrpSpPr>
            <p:cNvPr id="12" name="object 14">
              <a:extLst>
                <a:ext uri="{FF2B5EF4-FFF2-40B4-BE49-F238E27FC236}">
                  <a16:creationId xmlns:a16="http://schemas.microsoft.com/office/drawing/2014/main" id="{DE573081-5C4C-A05F-5F52-B1D73FD7CD49}"/>
                </a:ext>
              </a:extLst>
            </p:cNvPr>
            <p:cNvGrpSpPr/>
            <p:nvPr/>
          </p:nvGrpSpPr>
          <p:grpSpPr>
            <a:xfrm>
              <a:off x="8620222" y="563058"/>
              <a:ext cx="154767" cy="148222"/>
              <a:chOff x="14215470" y="927625"/>
              <a:chExt cx="255270" cy="244475"/>
            </a:xfrm>
          </p:grpSpPr>
          <p:pic>
            <p:nvPicPr>
              <p:cNvPr id="22" name="object 15">
                <a:extLst>
                  <a:ext uri="{FF2B5EF4-FFF2-40B4-BE49-F238E27FC236}">
                    <a16:creationId xmlns:a16="http://schemas.microsoft.com/office/drawing/2014/main" id="{2E3B985B-5E0D-2494-9BB5-48D2AF16578A}"/>
                  </a:ext>
                </a:extLst>
              </p:cNvPr>
              <p:cNvPicPr/>
              <p:nvPr/>
            </p:nvPicPr>
            <p:blipFill>
              <a:blip r:embed="rId5" cstate="print"/>
              <a:stretch>
                <a:fillRect/>
              </a:stretch>
            </p:blipFill>
            <p:spPr>
              <a:xfrm>
                <a:off x="14215470" y="927625"/>
                <a:ext cx="171837" cy="243919"/>
              </a:xfrm>
              <a:prstGeom prst="rect">
                <a:avLst/>
              </a:prstGeom>
            </p:spPr>
          </p:pic>
          <p:sp>
            <p:nvSpPr>
              <p:cNvPr id="23" name="object 16">
                <a:extLst>
                  <a:ext uri="{FF2B5EF4-FFF2-40B4-BE49-F238E27FC236}">
                    <a16:creationId xmlns:a16="http://schemas.microsoft.com/office/drawing/2014/main" id="{35DB2A93-8D84-E738-FF97-27188525E7ED}"/>
                  </a:ext>
                </a:extLst>
              </p:cNvPr>
              <p:cNvSpPr/>
              <p:nvPr/>
            </p:nvSpPr>
            <p:spPr>
              <a:xfrm>
                <a:off x="14418868" y="1070878"/>
                <a:ext cx="52069" cy="96520"/>
              </a:xfrm>
              <a:custGeom>
                <a:avLst/>
                <a:gdLst/>
                <a:ahLst/>
                <a:cxnLst/>
                <a:rect l="l" t="t" r="r" b="b"/>
                <a:pathLst>
                  <a:path w="52069" h="96519">
                    <a:moveTo>
                      <a:pt x="0" y="96520"/>
                    </a:moveTo>
                    <a:lnTo>
                      <a:pt x="51830" y="96520"/>
                    </a:lnTo>
                    <a:lnTo>
                      <a:pt x="51830" y="0"/>
                    </a:lnTo>
                    <a:lnTo>
                      <a:pt x="0" y="0"/>
                    </a:lnTo>
                    <a:lnTo>
                      <a:pt x="0" y="9652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Real Text Pro"/>
                  <a:ea typeface="+mn-ea"/>
                  <a:cs typeface="+mn-cs"/>
                </a:endParaRPr>
              </a:p>
            </p:txBody>
          </p:sp>
        </p:grpSp>
        <p:sp>
          <p:nvSpPr>
            <p:cNvPr id="13" name="object 17">
              <a:extLst>
                <a:ext uri="{FF2B5EF4-FFF2-40B4-BE49-F238E27FC236}">
                  <a16:creationId xmlns:a16="http://schemas.microsoft.com/office/drawing/2014/main" id="{31C647C9-76A7-125A-06F2-C314B843716B}"/>
                </a:ext>
              </a:extLst>
            </p:cNvPr>
            <p:cNvSpPr/>
            <p:nvPr/>
          </p:nvSpPr>
          <p:spPr>
            <a:xfrm>
              <a:off x="8743531" y="565215"/>
              <a:ext cx="97788" cy="143217"/>
            </a:xfrm>
            <a:custGeom>
              <a:avLst/>
              <a:gdLst/>
              <a:ahLst/>
              <a:cxnLst/>
              <a:rect l="l" t="t" r="r" b="b"/>
              <a:pathLst>
                <a:path w="161290" h="236219">
                  <a:moveTo>
                    <a:pt x="160832" y="0"/>
                  </a:moveTo>
                  <a:lnTo>
                    <a:pt x="108991" y="0"/>
                  </a:lnTo>
                  <a:lnTo>
                    <a:pt x="108991" y="95250"/>
                  </a:lnTo>
                  <a:lnTo>
                    <a:pt x="51841" y="95250"/>
                  </a:lnTo>
                  <a:lnTo>
                    <a:pt x="51841" y="0"/>
                  </a:lnTo>
                  <a:lnTo>
                    <a:pt x="0" y="0"/>
                  </a:lnTo>
                  <a:lnTo>
                    <a:pt x="0" y="95250"/>
                  </a:lnTo>
                  <a:lnTo>
                    <a:pt x="0" y="139700"/>
                  </a:lnTo>
                  <a:lnTo>
                    <a:pt x="108991" y="139700"/>
                  </a:lnTo>
                  <a:lnTo>
                    <a:pt x="108991" y="236220"/>
                  </a:lnTo>
                  <a:lnTo>
                    <a:pt x="160832" y="236220"/>
                  </a:lnTo>
                  <a:lnTo>
                    <a:pt x="160832" y="139700"/>
                  </a:lnTo>
                  <a:lnTo>
                    <a:pt x="160832" y="95250"/>
                  </a:lnTo>
                  <a:lnTo>
                    <a:pt x="160832"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Real Text Pro"/>
                <a:ea typeface="+mn-ea"/>
                <a:cs typeface="+mn-cs"/>
              </a:endParaRPr>
            </a:p>
          </p:txBody>
        </p:sp>
        <p:sp>
          <p:nvSpPr>
            <p:cNvPr id="14" name="object 18">
              <a:extLst>
                <a:ext uri="{FF2B5EF4-FFF2-40B4-BE49-F238E27FC236}">
                  <a16:creationId xmlns:a16="http://schemas.microsoft.com/office/drawing/2014/main" id="{CE610B70-993B-EF0F-72B6-5385B6F802DF}"/>
                </a:ext>
              </a:extLst>
            </p:cNvPr>
            <p:cNvSpPr/>
            <p:nvPr/>
          </p:nvSpPr>
          <p:spPr>
            <a:xfrm>
              <a:off x="8868146" y="565211"/>
              <a:ext cx="31569" cy="143601"/>
            </a:xfrm>
            <a:custGeom>
              <a:avLst/>
              <a:gdLst/>
              <a:ahLst/>
              <a:cxnLst/>
              <a:rect l="l" t="t" r="r" b="b"/>
              <a:pathLst>
                <a:path w="52069" h="236855">
                  <a:moveTo>
                    <a:pt x="51830" y="0"/>
                  </a:moveTo>
                  <a:lnTo>
                    <a:pt x="0" y="0"/>
                  </a:lnTo>
                  <a:lnTo>
                    <a:pt x="0" y="236820"/>
                  </a:lnTo>
                  <a:lnTo>
                    <a:pt x="51830" y="236820"/>
                  </a:lnTo>
                  <a:lnTo>
                    <a:pt x="5183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Real Text Pro"/>
                <a:ea typeface="+mn-ea"/>
                <a:cs typeface="+mn-cs"/>
              </a:endParaRPr>
            </a:p>
          </p:txBody>
        </p:sp>
        <p:pic>
          <p:nvPicPr>
            <p:cNvPr id="15" name="object 19">
              <a:extLst>
                <a:ext uri="{FF2B5EF4-FFF2-40B4-BE49-F238E27FC236}">
                  <a16:creationId xmlns:a16="http://schemas.microsoft.com/office/drawing/2014/main" id="{4E1331BC-AACA-A7FC-6C97-DBCDC6B4B0E8}"/>
                </a:ext>
              </a:extLst>
            </p:cNvPr>
            <p:cNvPicPr/>
            <p:nvPr/>
          </p:nvPicPr>
          <p:blipFill>
            <a:blip r:embed="rId6" cstate="print"/>
            <a:stretch>
              <a:fillRect/>
            </a:stretch>
          </p:blipFill>
          <p:spPr>
            <a:xfrm>
              <a:off x="8926675" y="563062"/>
              <a:ext cx="203386" cy="147878"/>
            </a:xfrm>
            <a:prstGeom prst="rect">
              <a:avLst/>
            </a:prstGeom>
          </p:spPr>
        </p:pic>
        <p:grpSp>
          <p:nvGrpSpPr>
            <p:cNvPr id="17" name="object 20">
              <a:extLst>
                <a:ext uri="{FF2B5EF4-FFF2-40B4-BE49-F238E27FC236}">
                  <a16:creationId xmlns:a16="http://schemas.microsoft.com/office/drawing/2014/main" id="{872D8B5C-1CF9-7288-3FC7-9FD5851F0CF7}"/>
                </a:ext>
              </a:extLst>
            </p:cNvPr>
            <p:cNvGrpSpPr/>
            <p:nvPr/>
          </p:nvGrpSpPr>
          <p:grpSpPr>
            <a:xfrm>
              <a:off x="8600880" y="735064"/>
              <a:ext cx="538218" cy="85083"/>
              <a:chOff x="14183569" y="1211327"/>
              <a:chExt cx="887730" cy="140335"/>
            </a:xfrm>
          </p:grpSpPr>
          <p:pic>
            <p:nvPicPr>
              <p:cNvPr id="19" name="object 21">
                <a:extLst>
                  <a:ext uri="{FF2B5EF4-FFF2-40B4-BE49-F238E27FC236}">
                    <a16:creationId xmlns:a16="http://schemas.microsoft.com/office/drawing/2014/main" id="{549B7904-1A49-7230-CC67-016E2C7D5461}"/>
                  </a:ext>
                </a:extLst>
              </p:cNvPr>
              <p:cNvPicPr/>
              <p:nvPr/>
            </p:nvPicPr>
            <p:blipFill>
              <a:blip r:embed="rId7" cstate="print"/>
              <a:stretch>
                <a:fillRect/>
              </a:stretch>
            </p:blipFill>
            <p:spPr>
              <a:xfrm>
                <a:off x="14183569" y="1211327"/>
                <a:ext cx="181745" cy="140267"/>
              </a:xfrm>
              <a:prstGeom prst="rect">
                <a:avLst/>
              </a:prstGeom>
            </p:spPr>
          </p:pic>
          <p:pic>
            <p:nvPicPr>
              <p:cNvPr id="20" name="object 22">
                <a:extLst>
                  <a:ext uri="{FF2B5EF4-FFF2-40B4-BE49-F238E27FC236}">
                    <a16:creationId xmlns:a16="http://schemas.microsoft.com/office/drawing/2014/main" id="{60D8853F-8E29-E1DC-55D7-B0A9860167F2}"/>
                  </a:ext>
                </a:extLst>
              </p:cNvPr>
              <p:cNvPicPr/>
              <p:nvPr/>
            </p:nvPicPr>
            <p:blipFill>
              <a:blip r:embed="rId8" cstate="print"/>
              <a:stretch>
                <a:fillRect/>
              </a:stretch>
            </p:blipFill>
            <p:spPr>
              <a:xfrm>
                <a:off x="14396082" y="1217741"/>
                <a:ext cx="226103" cy="102029"/>
              </a:xfrm>
              <a:prstGeom prst="rect">
                <a:avLst/>
              </a:prstGeom>
            </p:spPr>
          </p:pic>
          <p:pic>
            <p:nvPicPr>
              <p:cNvPr id="21" name="object 23">
                <a:extLst>
                  <a:ext uri="{FF2B5EF4-FFF2-40B4-BE49-F238E27FC236}">
                    <a16:creationId xmlns:a16="http://schemas.microsoft.com/office/drawing/2014/main" id="{C38DFA33-1C87-A295-AD99-101C418164EE}"/>
                  </a:ext>
                </a:extLst>
              </p:cNvPr>
              <p:cNvPicPr/>
              <p:nvPr/>
            </p:nvPicPr>
            <p:blipFill>
              <a:blip r:embed="rId9" cstate="print"/>
              <a:stretch>
                <a:fillRect/>
              </a:stretch>
            </p:blipFill>
            <p:spPr>
              <a:xfrm>
                <a:off x="14642404" y="1216069"/>
                <a:ext cx="428683" cy="105546"/>
              </a:xfrm>
              <a:prstGeom prst="rect">
                <a:avLst/>
              </a:prstGeom>
            </p:spPr>
          </p:pic>
        </p:grpSp>
        <p:pic>
          <p:nvPicPr>
            <p:cNvPr id="18" name="object 24">
              <a:extLst>
                <a:ext uri="{FF2B5EF4-FFF2-40B4-BE49-F238E27FC236}">
                  <a16:creationId xmlns:a16="http://schemas.microsoft.com/office/drawing/2014/main" id="{62801D1E-8A21-49B6-C14C-1879A756B3C8}"/>
                </a:ext>
              </a:extLst>
            </p:cNvPr>
            <p:cNvPicPr/>
            <p:nvPr/>
          </p:nvPicPr>
          <p:blipFill>
            <a:blip r:embed="rId10" cstate="print"/>
            <a:srcRect t="2" r="8299" b="42551"/>
            <a:stretch/>
          </p:blipFill>
          <p:spPr>
            <a:xfrm>
              <a:off x="11109501" y="589948"/>
              <a:ext cx="673884" cy="185327"/>
            </a:xfrm>
            <a:prstGeom prst="rect">
              <a:avLst/>
            </a:prstGeom>
          </p:spPr>
        </p:pic>
      </p:grpSp>
    </p:spTree>
    <p:extLst>
      <p:ext uri="{BB962C8B-B14F-4D97-AF65-F5344CB8AC3E}">
        <p14:creationId xmlns:p14="http://schemas.microsoft.com/office/powerpoint/2010/main" val="13987361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ection Heading 2">
    <p:spTree>
      <p:nvGrpSpPr>
        <p:cNvPr id="1" name=""/>
        <p:cNvGrpSpPr/>
        <p:nvPr/>
      </p:nvGrpSpPr>
      <p:grpSpPr>
        <a:xfrm>
          <a:off x="0" y="0"/>
          <a:ext cx="0" cy="0"/>
          <a:chOff x="0" y="0"/>
          <a:chExt cx="0" cy="0"/>
        </a:xfrm>
      </p:grpSpPr>
      <p:pic>
        <p:nvPicPr>
          <p:cNvPr id="4098" name="Picture 2">
            <a:extLst>
              <a:ext uri="{FF2B5EF4-FFF2-40B4-BE49-F238E27FC236}">
                <a16:creationId xmlns:a16="http://schemas.microsoft.com/office/drawing/2014/main" id="{78AFAC4F-3802-CB0F-483F-F7A611051524}"/>
              </a:ext>
            </a:extLst>
          </p:cNvPr>
          <p:cNvPicPr>
            <a:picLocks noChangeAspect="1" noChangeArrowheads="1"/>
          </p:cNvPicPr>
          <p:nvPr userDrawn="1"/>
        </p:nvPicPr>
        <p:blipFill rotWithShape="1">
          <a:blip r:embed="rId2">
            <a:alphaModFix/>
            <a:extLst>
              <a:ext uri="{28A0092B-C50C-407E-A947-70E740481C1C}">
                <a14:useLocalDpi xmlns:a14="http://schemas.microsoft.com/office/drawing/2010/main" val="0"/>
              </a:ext>
            </a:extLst>
          </a:blip>
          <a:srcRect l="219" t="2504" r="31" b="-636"/>
          <a:stretch/>
        </p:blipFill>
        <p:spPr bwMode="auto">
          <a:xfrm>
            <a:off x="344423" y="343463"/>
            <a:ext cx="11503152" cy="6364224"/>
          </a:xfrm>
          <a:prstGeom prst="rect">
            <a:avLst/>
          </a:prstGeom>
          <a:noFill/>
          <a:extLst>
            <a:ext uri="{909E8E84-426E-40DD-AFC4-6F175D3DCCD1}">
              <a14:hiddenFill xmlns:a14="http://schemas.microsoft.com/office/drawing/2010/main">
                <a:solidFill>
                  <a:srgbClr val="FFFFFF"/>
                </a:solidFill>
              </a14:hiddenFill>
            </a:ext>
          </a:extLst>
        </p:spPr>
      </p:pic>
      <p:grpSp>
        <p:nvGrpSpPr>
          <p:cNvPr id="6" name="object 2">
            <a:extLst>
              <a:ext uri="{FF2B5EF4-FFF2-40B4-BE49-F238E27FC236}">
                <a16:creationId xmlns:a16="http://schemas.microsoft.com/office/drawing/2014/main" id="{E20A98F7-5068-D6D6-256F-AA04A0AAC475}"/>
              </a:ext>
            </a:extLst>
          </p:cNvPr>
          <p:cNvGrpSpPr/>
          <p:nvPr userDrawn="1"/>
        </p:nvGrpSpPr>
        <p:grpSpPr>
          <a:xfrm>
            <a:off x="1588" y="3609687"/>
            <a:ext cx="12189054" cy="3247402"/>
            <a:chOff x="0" y="5952698"/>
            <a:chExt cx="20104477" cy="5356225"/>
          </a:xfrm>
        </p:grpSpPr>
        <p:sp>
          <p:nvSpPr>
            <p:cNvPr id="8" name="Rectangle 2">
              <a:extLst>
                <a:ext uri="{FF2B5EF4-FFF2-40B4-BE49-F238E27FC236}">
                  <a16:creationId xmlns:a16="http://schemas.microsoft.com/office/drawing/2014/main" id="{653A196A-472F-C814-BF71-AAC27920E9F4}"/>
                </a:ext>
              </a:extLst>
            </p:cNvPr>
            <p:cNvSpPr/>
            <p:nvPr/>
          </p:nvSpPr>
          <p:spPr>
            <a:xfrm>
              <a:off x="9957812" y="10994430"/>
              <a:ext cx="10146665" cy="314325"/>
            </a:xfrm>
            <a:custGeom>
              <a:avLst/>
              <a:gdLst/>
              <a:ahLst/>
              <a:cxnLst/>
              <a:rect l="l" t="t" r="r" b="b"/>
              <a:pathLst>
                <a:path w="10146665" h="314325">
                  <a:moveTo>
                    <a:pt x="0" y="314126"/>
                  </a:moveTo>
                  <a:lnTo>
                    <a:pt x="10146287" y="314126"/>
                  </a:lnTo>
                  <a:lnTo>
                    <a:pt x="10146287" y="0"/>
                  </a:lnTo>
                  <a:lnTo>
                    <a:pt x="0" y="0"/>
                  </a:lnTo>
                  <a:lnTo>
                    <a:pt x="0" y="314126"/>
                  </a:lnTo>
                  <a:close/>
                </a:path>
              </a:pathLst>
            </a:custGeom>
            <a:solidFill>
              <a:schemeClr val="accent3"/>
            </a:solidFill>
          </p:spPr>
          <p:txBody>
            <a:bodyPr wrap="square" lIns="0" tIns="0" rIns="0" bIns="0" rtlCol="0"/>
            <a:lstStyle/>
            <a:p>
              <a:endParaRPr kern="0">
                <a:solidFill>
                  <a:sysClr val="windowText" lastClr="000000"/>
                </a:solidFill>
              </a:endParaRPr>
            </a:p>
          </p:txBody>
        </p:sp>
        <p:sp>
          <p:nvSpPr>
            <p:cNvPr id="9" name="Rectangle 1">
              <a:extLst>
                <a:ext uri="{FF2B5EF4-FFF2-40B4-BE49-F238E27FC236}">
                  <a16:creationId xmlns:a16="http://schemas.microsoft.com/office/drawing/2014/main" id="{9F40ABCB-1BAF-6940-C2BD-98252ACE6F39}"/>
                </a:ext>
              </a:extLst>
            </p:cNvPr>
            <p:cNvSpPr/>
            <p:nvPr/>
          </p:nvSpPr>
          <p:spPr>
            <a:xfrm>
              <a:off x="0" y="5952698"/>
              <a:ext cx="9958070" cy="5356225"/>
            </a:xfrm>
            <a:custGeom>
              <a:avLst/>
              <a:gdLst/>
              <a:ahLst/>
              <a:cxnLst/>
              <a:rect l="l" t="t" r="r" b="b"/>
              <a:pathLst>
                <a:path w="9958070" h="5356225">
                  <a:moveTo>
                    <a:pt x="9957811" y="5355857"/>
                  </a:moveTo>
                  <a:lnTo>
                    <a:pt x="9957811" y="0"/>
                  </a:lnTo>
                  <a:lnTo>
                    <a:pt x="0" y="0"/>
                  </a:lnTo>
                  <a:lnTo>
                    <a:pt x="0" y="5355857"/>
                  </a:lnTo>
                  <a:lnTo>
                    <a:pt x="9957811" y="5355857"/>
                  </a:lnTo>
                  <a:close/>
                </a:path>
              </a:pathLst>
            </a:custGeom>
            <a:solidFill>
              <a:schemeClr val="tx2">
                <a:alpha val="94999"/>
              </a:schemeClr>
            </a:solidFill>
          </p:spPr>
          <p:txBody>
            <a:bodyPr wrap="square" lIns="0" tIns="0" rIns="0" bIns="0" rtlCol="0"/>
            <a:lstStyle/>
            <a:p>
              <a:endParaRPr kern="0">
                <a:solidFill>
                  <a:sysClr val="windowText" lastClr="000000"/>
                </a:solidFill>
              </a:endParaRPr>
            </a:p>
          </p:txBody>
        </p:sp>
        <p:sp>
          <p:nvSpPr>
            <p:cNvPr id="10" name="object 6">
              <a:extLst>
                <a:ext uri="{FF2B5EF4-FFF2-40B4-BE49-F238E27FC236}">
                  <a16:creationId xmlns:a16="http://schemas.microsoft.com/office/drawing/2014/main" id="{996BBF15-E439-1625-5BB7-79ACA6CC314C}"/>
                </a:ext>
              </a:extLst>
            </p:cNvPr>
            <p:cNvSpPr/>
            <p:nvPr/>
          </p:nvSpPr>
          <p:spPr>
            <a:xfrm>
              <a:off x="0" y="5952698"/>
              <a:ext cx="1979295" cy="125730"/>
            </a:xfrm>
            <a:custGeom>
              <a:avLst/>
              <a:gdLst/>
              <a:ahLst/>
              <a:cxnLst/>
              <a:rect l="l" t="t" r="r" b="b"/>
              <a:pathLst>
                <a:path w="1979295" h="125729">
                  <a:moveTo>
                    <a:pt x="1978997" y="0"/>
                  </a:moveTo>
                  <a:lnTo>
                    <a:pt x="0" y="0"/>
                  </a:lnTo>
                  <a:lnTo>
                    <a:pt x="0" y="125650"/>
                  </a:lnTo>
                  <a:lnTo>
                    <a:pt x="1978997" y="125650"/>
                  </a:lnTo>
                  <a:lnTo>
                    <a:pt x="1978997" y="0"/>
                  </a:lnTo>
                  <a:close/>
                </a:path>
              </a:pathLst>
            </a:custGeom>
            <a:solidFill>
              <a:srgbClr val="FFD700"/>
            </a:solidFill>
            <a:ln>
              <a:solidFill>
                <a:schemeClr val="accent4"/>
              </a:solidFill>
            </a:ln>
          </p:spPr>
          <p:txBody>
            <a:bodyPr wrap="square" lIns="0" tIns="0" rIns="0" bIns="0" rtlCol="0"/>
            <a:lstStyle/>
            <a:p>
              <a:endParaRPr kern="0">
                <a:solidFill>
                  <a:sysClr val="windowText" lastClr="000000"/>
                </a:solidFill>
              </a:endParaRPr>
            </a:p>
          </p:txBody>
        </p:sp>
      </p:grpSp>
      <p:sp>
        <p:nvSpPr>
          <p:cNvPr id="16" name="object 12">
            <a:extLst>
              <a:ext uri="{FF2B5EF4-FFF2-40B4-BE49-F238E27FC236}">
                <a16:creationId xmlns:a16="http://schemas.microsoft.com/office/drawing/2014/main" id="{4B1C22C3-1441-8A00-4B6D-25C6C749A5EB}"/>
              </a:ext>
            </a:extLst>
          </p:cNvPr>
          <p:cNvSpPr txBox="1">
            <a:spLocks/>
          </p:cNvSpPr>
          <p:nvPr userDrawn="1"/>
        </p:nvSpPr>
        <p:spPr>
          <a:xfrm>
            <a:off x="7028811" y="3790905"/>
            <a:ext cx="146385" cy="204456"/>
          </a:xfrm>
          <a:prstGeom prst="rect">
            <a:avLst/>
          </a:prstGeom>
        </p:spPr>
        <p:txBody>
          <a:bodyPr vert="horz" wrap="square" lIns="0" tIns="22329" rIns="0" bIns="0" rtlCol="0" anchor="ctr">
            <a:spAutoFit/>
          </a:bodyPr>
          <a:lstStyle>
            <a:defPPr>
              <a:defRPr lang="en-US"/>
            </a:defPPr>
            <a:lvl1pPr marL="0" algn="ctr" defTabSz="914400" rtl="0" eaLnBrk="1" latinLnBrk="0" hangingPunct="1">
              <a:defRPr sz="1180" b="1" kern="1200">
                <a:solidFill>
                  <a:schemeClr val="tx1">
                    <a:tint val="82000"/>
                  </a:schemeClr>
                </a:solidFill>
                <a:latin typeface="Real Head Pro" panose="020B05040202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0070">
              <a:spcBef>
                <a:spcPts val="176"/>
              </a:spcBef>
            </a:pPr>
            <a:fld id="{81D60167-4931-47E6-BA6A-407CBD079E47}" type="slidenum">
              <a:rPr lang="en-US" kern="0" spc="-30" smtClean="0"/>
              <a:pPr marL="70070">
                <a:spcBef>
                  <a:spcPts val="176"/>
                </a:spcBef>
              </a:pPr>
              <a:t>‹#›</a:t>
            </a:fld>
            <a:endParaRPr lang="en-US" kern="0" spc="-30"/>
          </a:p>
        </p:txBody>
      </p:sp>
      <p:grpSp>
        <p:nvGrpSpPr>
          <p:cNvPr id="17" name="Group 16">
            <a:extLst>
              <a:ext uri="{FF2B5EF4-FFF2-40B4-BE49-F238E27FC236}">
                <a16:creationId xmlns:a16="http://schemas.microsoft.com/office/drawing/2014/main" id="{73290CE5-C884-7254-7D58-13D3AB8FB22B}"/>
              </a:ext>
            </a:extLst>
          </p:cNvPr>
          <p:cNvGrpSpPr/>
          <p:nvPr userDrawn="1"/>
        </p:nvGrpSpPr>
        <p:grpSpPr>
          <a:xfrm>
            <a:off x="10768672" y="6279572"/>
            <a:ext cx="694340" cy="190186"/>
            <a:chOff x="10768672" y="6279572"/>
            <a:chExt cx="694340" cy="190186"/>
          </a:xfrm>
        </p:grpSpPr>
        <p:grpSp>
          <p:nvGrpSpPr>
            <p:cNvPr id="18" name="object 26">
              <a:extLst>
                <a:ext uri="{FF2B5EF4-FFF2-40B4-BE49-F238E27FC236}">
                  <a16:creationId xmlns:a16="http://schemas.microsoft.com/office/drawing/2014/main" id="{BA7625BB-3FD0-781B-A19D-44D80F183F3C}"/>
                </a:ext>
              </a:extLst>
            </p:cNvPr>
            <p:cNvGrpSpPr/>
            <p:nvPr/>
          </p:nvGrpSpPr>
          <p:grpSpPr>
            <a:xfrm>
              <a:off x="10768672" y="6279841"/>
              <a:ext cx="348802" cy="189801"/>
              <a:chOff x="17759098" y="10356815"/>
              <a:chExt cx="575310" cy="313055"/>
            </a:xfrm>
          </p:grpSpPr>
          <p:sp>
            <p:nvSpPr>
              <p:cNvPr id="20" name="object 27">
                <a:extLst>
                  <a:ext uri="{FF2B5EF4-FFF2-40B4-BE49-F238E27FC236}">
                    <a16:creationId xmlns:a16="http://schemas.microsoft.com/office/drawing/2014/main" id="{23E17969-E517-C529-A29A-F24CFCE48023}"/>
                  </a:ext>
                </a:extLst>
              </p:cNvPr>
              <p:cNvSpPr/>
              <p:nvPr/>
            </p:nvSpPr>
            <p:spPr>
              <a:xfrm>
                <a:off x="17759098" y="10361392"/>
                <a:ext cx="281940" cy="302895"/>
              </a:xfrm>
              <a:custGeom>
                <a:avLst/>
                <a:gdLst/>
                <a:ahLst/>
                <a:cxnLst/>
                <a:rect l="l" t="t" r="r" b="b"/>
                <a:pathLst>
                  <a:path w="281940" h="302895">
                    <a:moveTo>
                      <a:pt x="281478" y="0"/>
                    </a:moveTo>
                    <a:lnTo>
                      <a:pt x="202936" y="0"/>
                    </a:lnTo>
                    <a:lnTo>
                      <a:pt x="202936" y="174308"/>
                    </a:lnTo>
                    <a:lnTo>
                      <a:pt x="80364" y="0"/>
                    </a:lnTo>
                    <a:lnTo>
                      <a:pt x="0" y="0"/>
                    </a:lnTo>
                    <a:lnTo>
                      <a:pt x="0" y="302723"/>
                    </a:lnTo>
                    <a:lnTo>
                      <a:pt x="78049" y="302723"/>
                    </a:lnTo>
                    <a:lnTo>
                      <a:pt x="78049" y="119807"/>
                    </a:lnTo>
                    <a:lnTo>
                      <a:pt x="206129" y="302776"/>
                    </a:lnTo>
                    <a:lnTo>
                      <a:pt x="281478" y="302776"/>
                    </a:lnTo>
                    <a:lnTo>
                      <a:pt x="281478" y="0"/>
                    </a:lnTo>
                    <a:close/>
                  </a:path>
                </a:pathLst>
              </a:custGeom>
              <a:solidFill>
                <a:srgbClr val="FFFFFF"/>
              </a:solidFill>
            </p:spPr>
            <p:txBody>
              <a:bodyPr wrap="square" lIns="0" tIns="0" rIns="0" bIns="0" rtlCol="0"/>
              <a:lstStyle/>
              <a:p>
                <a:endParaRPr kern="0">
                  <a:solidFill>
                    <a:sysClr val="windowText" lastClr="000000"/>
                  </a:solidFill>
                </a:endParaRPr>
              </a:p>
            </p:txBody>
          </p:sp>
          <p:sp>
            <p:nvSpPr>
              <p:cNvPr id="21" name="object 28">
                <a:extLst>
                  <a:ext uri="{FF2B5EF4-FFF2-40B4-BE49-F238E27FC236}">
                    <a16:creationId xmlns:a16="http://schemas.microsoft.com/office/drawing/2014/main" id="{633E22B1-7C4B-F806-5260-945B128FF0DB}"/>
                  </a:ext>
                </a:extLst>
              </p:cNvPr>
              <p:cNvSpPr/>
              <p:nvPr/>
            </p:nvSpPr>
            <p:spPr>
              <a:xfrm>
                <a:off x="18073618" y="10356815"/>
                <a:ext cx="260985" cy="313055"/>
              </a:xfrm>
              <a:custGeom>
                <a:avLst/>
                <a:gdLst/>
                <a:ahLst/>
                <a:cxnLst/>
                <a:rect l="l" t="t" r="r" b="b"/>
                <a:pathLst>
                  <a:path w="260984" h="313054">
                    <a:moveTo>
                      <a:pt x="130289" y="0"/>
                    </a:moveTo>
                    <a:lnTo>
                      <a:pt x="78682" y="7671"/>
                    </a:lnTo>
                    <a:lnTo>
                      <a:pt x="40822" y="28360"/>
                    </a:lnTo>
                    <a:lnTo>
                      <a:pt x="17523" y="58574"/>
                    </a:lnTo>
                    <a:lnTo>
                      <a:pt x="9601" y="94824"/>
                    </a:lnTo>
                    <a:lnTo>
                      <a:pt x="21302" y="138425"/>
                    </a:lnTo>
                    <a:lnTo>
                      <a:pt x="50787" y="165184"/>
                    </a:lnTo>
                    <a:lnTo>
                      <a:pt x="89631" y="180370"/>
                    </a:lnTo>
                    <a:lnTo>
                      <a:pt x="129409" y="189250"/>
                    </a:lnTo>
                    <a:lnTo>
                      <a:pt x="151085" y="194533"/>
                    </a:lnTo>
                    <a:lnTo>
                      <a:pt x="167360" y="200784"/>
                    </a:lnTo>
                    <a:lnTo>
                      <a:pt x="177593" y="208990"/>
                    </a:lnTo>
                    <a:lnTo>
                      <a:pt x="181146" y="220139"/>
                    </a:lnTo>
                    <a:lnTo>
                      <a:pt x="178169" y="230305"/>
                    </a:lnTo>
                    <a:lnTo>
                      <a:pt x="169613" y="238518"/>
                    </a:lnTo>
                    <a:lnTo>
                      <a:pt x="156042" y="244011"/>
                    </a:lnTo>
                    <a:lnTo>
                      <a:pt x="138016" y="246013"/>
                    </a:lnTo>
                    <a:lnTo>
                      <a:pt x="108540" y="242837"/>
                    </a:lnTo>
                    <a:lnTo>
                      <a:pt x="82344" y="234216"/>
                    </a:lnTo>
                    <a:lnTo>
                      <a:pt x="59809" y="221510"/>
                    </a:lnTo>
                    <a:lnTo>
                      <a:pt x="41318" y="206025"/>
                    </a:lnTo>
                    <a:lnTo>
                      <a:pt x="0" y="264599"/>
                    </a:lnTo>
                    <a:lnTo>
                      <a:pt x="25223" y="284356"/>
                    </a:lnTo>
                    <a:lnTo>
                      <a:pt x="55622" y="299531"/>
                    </a:lnTo>
                    <a:lnTo>
                      <a:pt x="91803" y="309266"/>
                    </a:lnTo>
                    <a:lnTo>
                      <a:pt x="134372" y="312702"/>
                    </a:lnTo>
                    <a:lnTo>
                      <a:pt x="188371" y="305443"/>
                    </a:lnTo>
                    <a:lnTo>
                      <a:pt x="227945" y="284908"/>
                    </a:lnTo>
                    <a:lnTo>
                      <a:pt x="252285" y="252965"/>
                    </a:lnTo>
                    <a:lnTo>
                      <a:pt x="260578" y="211480"/>
                    </a:lnTo>
                    <a:lnTo>
                      <a:pt x="249016" y="169435"/>
                    </a:lnTo>
                    <a:lnTo>
                      <a:pt x="219837" y="142952"/>
                    </a:lnTo>
                    <a:lnTo>
                      <a:pt x="181299" y="127359"/>
                    </a:lnTo>
                    <a:lnTo>
                      <a:pt x="141660" y="117985"/>
                    </a:lnTo>
                    <a:lnTo>
                      <a:pt x="119330" y="113216"/>
                    </a:lnTo>
                    <a:lnTo>
                      <a:pt x="102966" y="107720"/>
                    </a:lnTo>
                    <a:lnTo>
                      <a:pt x="92902" y="100435"/>
                    </a:lnTo>
                    <a:lnTo>
                      <a:pt x="89473" y="90300"/>
                    </a:lnTo>
                    <a:lnTo>
                      <a:pt x="91313" y="81050"/>
                    </a:lnTo>
                    <a:lnTo>
                      <a:pt x="97367" y="73551"/>
                    </a:lnTo>
                    <a:lnTo>
                      <a:pt x="108437" y="68524"/>
                    </a:lnTo>
                    <a:lnTo>
                      <a:pt x="125326" y="66689"/>
                    </a:lnTo>
                    <a:lnTo>
                      <a:pt x="146369" y="68645"/>
                    </a:lnTo>
                    <a:lnTo>
                      <a:pt x="168489" y="74516"/>
                    </a:lnTo>
                    <a:lnTo>
                      <a:pt x="190362" y="84305"/>
                    </a:lnTo>
                    <a:lnTo>
                      <a:pt x="210663" y="98017"/>
                    </a:lnTo>
                    <a:lnTo>
                      <a:pt x="253301" y="42197"/>
                    </a:lnTo>
                    <a:lnTo>
                      <a:pt x="227314" y="23920"/>
                    </a:lnTo>
                    <a:lnTo>
                      <a:pt x="197916" y="10713"/>
                    </a:lnTo>
                    <a:lnTo>
                      <a:pt x="165458" y="2698"/>
                    </a:lnTo>
                    <a:lnTo>
                      <a:pt x="130289" y="0"/>
                    </a:lnTo>
                    <a:close/>
                  </a:path>
                </a:pathLst>
              </a:custGeom>
              <a:solidFill>
                <a:srgbClr val="00BFFF"/>
              </a:solidFill>
            </p:spPr>
            <p:txBody>
              <a:bodyPr wrap="square" lIns="0" tIns="0" rIns="0" bIns="0" rtlCol="0"/>
              <a:lstStyle/>
              <a:p>
                <a:endParaRPr kern="0">
                  <a:solidFill>
                    <a:sysClr val="windowText" lastClr="000000"/>
                  </a:solidFill>
                </a:endParaRPr>
              </a:p>
            </p:txBody>
          </p:sp>
        </p:grpSp>
        <p:sp>
          <p:nvSpPr>
            <p:cNvPr id="19" name="object 29">
              <a:extLst>
                <a:ext uri="{FF2B5EF4-FFF2-40B4-BE49-F238E27FC236}">
                  <a16:creationId xmlns:a16="http://schemas.microsoft.com/office/drawing/2014/main" id="{1E1B9F0F-5BE2-6336-D2A0-3B9AABE4CF33}"/>
                </a:ext>
              </a:extLst>
            </p:cNvPr>
            <p:cNvSpPr/>
            <p:nvPr/>
          </p:nvSpPr>
          <p:spPr>
            <a:xfrm>
              <a:off x="11126915" y="6279572"/>
              <a:ext cx="336097" cy="190186"/>
            </a:xfrm>
            <a:custGeom>
              <a:avLst/>
              <a:gdLst/>
              <a:ahLst/>
              <a:cxnLst/>
              <a:rect l="l" t="t" r="r" b="b"/>
              <a:pathLst>
                <a:path w="554355" h="313690">
                  <a:moveTo>
                    <a:pt x="247383" y="4508"/>
                  </a:moveTo>
                  <a:lnTo>
                    <a:pt x="0" y="4508"/>
                  </a:lnTo>
                  <a:lnTo>
                    <a:pt x="0" y="73088"/>
                  </a:lnTo>
                  <a:lnTo>
                    <a:pt x="84886" y="73088"/>
                  </a:lnTo>
                  <a:lnTo>
                    <a:pt x="84886" y="308038"/>
                  </a:lnTo>
                  <a:lnTo>
                    <a:pt x="162928" y="308038"/>
                  </a:lnTo>
                  <a:lnTo>
                    <a:pt x="162928" y="73088"/>
                  </a:lnTo>
                  <a:lnTo>
                    <a:pt x="247383" y="73088"/>
                  </a:lnTo>
                  <a:lnTo>
                    <a:pt x="247383" y="4508"/>
                  </a:lnTo>
                  <a:close/>
                </a:path>
                <a:path w="554355" h="313690">
                  <a:moveTo>
                    <a:pt x="554139" y="81254"/>
                  </a:moveTo>
                  <a:lnTo>
                    <a:pt x="535305" y="51714"/>
                  </a:lnTo>
                  <a:lnTo>
                    <a:pt x="507720" y="25654"/>
                  </a:lnTo>
                  <a:lnTo>
                    <a:pt x="469734" y="7086"/>
                  </a:lnTo>
                  <a:lnTo>
                    <a:pt x="419760" y="0"/>
                  </a:lnTo>
                  <a:lnTo>
                    <a:pt x="368109" y="7315"/>
                  </a:lnTo>
                  <a:lnTo>
                    <a:pt x="323684" y="28206"/>
                  </a:lnTo>
                  <a:lnTo>
                    <a:pt x="288937" y="61087"/>
                  </a:lnTo>
                  <a:lnTo>
                    <a:pt x="266293" y="104419"/>
                  </a:lnTo>
                  <a:lnTo>
                    <a:pt x="258191" y="156603"/>
                  </a:lnTo>
                  <a:lnTo>
                    <a:pt x="266280" y="208622"/>
                  </a:lnTo>
                  <a:lnTo>
                    <a:pt x="288912" y="251929"/>
                  </a:lnTo>
                  <a:lnTo>
                    <a:pt x="323672" y="284886"/>
                  </a:lnTo>
                  <a:lnTo>
                    <a:pt x="368096" y="305854"/>
                  </a:lnTo>
                  <a:lnTo>
                    <a:pt x="419760" y="313207"/>
                  </a:lnTo>
                  <a:lnTo>
                    <a:pt x="469798" y="306006"/>
                  </a:lnTo>
                  <a:lnTo>
                    <a:pt x="507885" y="287223"/>
                  </a:lnTo>
                  <a:lnTo>
                    <a:pt x="535495" y="261124"/>
                  </a:lnTo>
                  <a:lnTo>
                    <a:pt x="554139" y="231952"/>
                  </a:lnTo>
                  <a:lnTo>
                    <a:pt x="486943" y="200190"/>
                  </a:lnTo>
                  <a:lnTo>
                    <a:pt x="476643" y="217208"/>
                  </a:lnTo>
                  <a:lnTo>
                    <a:pt x="461352" y="231216"/>
                  </a:lnTo>
                  <a:lnTo>
                    <a:pt x="442074" y="240703"/>
                  </a:lnTo>
                  <a:lnTo>
                    <a:pt x="419760" y="244208"/>
                  </a:lnTo>
                  <a:lnTo>
                    <a:pt x="387032" y="237477"/>
                  </a:lnTo>
                  <a:lnTo>
                    <a:pt x="361010" y="218960"/>
                  </a:lnTo>
                  <a:lnTo>
                    <a:pt x="343827" y="191160"/>
                  </a:lnTo>
                  <a:lnTo>
                    <a:pt x="337629" y="156603"/>
                  </a:lnTo>
                  <a:lnTo>
                    <a:pt x="343827" y="122047"/>
                  </a:lnTo>
                  <a:lnTo>
                    <a:pt x="360984" y="94246"/>
                  </a:lnTo>
                  <a:lnTo>
                    <a:pt x="387007" y="75730"/>
                  </a:lnTo>
                  <a:lnTo>
                    <a:pt x="419760" y="69011"/>
                  </a:lnTo>
                  <a:lnTo>
                    <a:pt x="442074" y="72504"/>
                  </a:lnTo>
                  <a:lnTo>
                    <a:pt x="461352" y="81991"/>
                  </a:lnTo>
                  <a:lnTo>
                    <a:pt x="476643" y="95999"/>
                  </a:lnTo>
                  <a:lnTo>
                    <a:pt x="486943" y="113030"/>
                  </a:lnTo>
                  <a:lnTo>
                    <a:pt x="554139" y="81254"/>
                  </a:lnTo>
                  <a:close/>
                </a:path>
              </a:pathLst>
            </a:custGeom>
            <a:solidFill>
              <a:srgbClr val="FFFFFF"/>
            </a:solidFill>
          </p:spPr>
          <p:txBody>
            <a:bodyPr wrap="square" lIns="0" tIns="0" rIns="0" bIns="0" rtlCol="0"/>
            <a:lstStyle/>
            <a:p>
              <a:endParaRPr kern="0">
                <a:solidFill>
                  <a:sysClr val="windowText" lastClr="000000"/>
                </a:solidFill>
              </a:endParaRPr>
            </a:p>
          </p:txBody>
        </p:sp>
      </p:grpSp>
      <p:sp>
        <p:nvSpPr>
          <p:cNvPr id="31" name="Slide Number Box">
            <a:extLst>
              <a:ext uri="{FF2B5EF4-FFF2-40B4-BE49-F238E27FC236}">
                <a16:creationId xmlns:a16="http://schemas.microsoft.com/office/drawing/2014/main" id="{C8C30A0E-C945-097E-4049-68ECCF8C1045}"/>
              </a:ext>
            </a:extLst>
          </p:cNvPr>
          <p:cNvSpPr txBox="1"/>
          <p:nvPr userDrawn="1"/>
        </p:nvSpPr>
        <p:spPr>
          <a:xfrm>
            <a:off x="11566535" y="6234575"/>
            <a:ext cx="279503" cy="283464"/>
          </a:xfrm>
          <a:prstGeom prst="rect">
            <a:avLst/>
          </a:prstGeom>
          <a:solidFill>
            <a:srgbClr val="FFD700"/>
          </a:solidFill>
        </p:spPr>
        <p:txBody>
          <a:bodyPr vert="horz" wrap="square" lIns="0" tIns="38884" rIns="0" bIns="0" rtlCol="0">
            <a:spAutoFit/>
          </a:bodyPr>
          <a:lstStyle/>
          <a:p>
            <a:pPr marL="55825" algn="ctr">
              <a:spcBef>
                <a:spcPts val="306"/>
              </a:spcBef>
            </a:pPr>
            <a:endParaRPr sz="1182">
              <a:latin typeface="Real Head Pro"/>
              <a:cs typeface="Real Head Pro"/>
            </a:endParaRPr>
          </a:p>
        </p:txBody>
      </p:sp>
      <p:sp>
        <p:nvSpPr>
          <p:cNvPr id="30" name="Slide Number Placeholder 29">
            <a:extLst>
              <a:ext uri="{FF2B5EF4-FFF2-40B4-BE49-F238E27FC236}">
                <a16:creationId xmlns:a16="http://schemas.microsoft.com/office/drawing/2014/main" id="{D8EDAEDC-029D-D60B-2150-4EAF1A427744}"/>
              </a:ext>
            </a:extLst>
          </p:cNvPr>
          <p:cNvSpPr>
            <a:spLocks noGrp="1"/>
          </p:cNvSpPr>
          <p:nvPr>
            <p:ph type="sldNum" sz="quarter" idx="12"/>
          </p:nvPr>
        </p:nvSpPr>
        <p:spPr/>
        <p:txBody>
          <a:bodyPr/>
          <a:lstStyle/>
          <a:p>
            <a:fld id="{FF7D9A68-EC15-4B1F-850C-8A6CCAFA90D8}" type="slidenum">
              <a:rPr lang="en-US" smtClean="0"/>
              <a:pPr/>
              <a:t>‹#›</a:t>
            </a:fld>
            <a:endParaRPr lang="en-US"/>
          </a:p>
        </p:txBody>
      </p:sp>
      <p:sp>
        <p:nvSpPr>
          <p:cNvPr id="33" name="Text Placeholder 32">
            <a:extLst>
              <a:ext uri="{FF2B5EF4-FFF2-40B4-BE49-F238E27FC236}">
                <a16:creationId xmlns:a16="http://schemas.microsoft.com/office/drawing/2014/main" id="{60F66712-A08A-F036-E80E-9ED43BDD061A}"/>
              </a:ext>
            </a:extLst>
          </p:cNvPr>
          <p:cNvSpPr>
            <a:spLocks noGrp="1"/>
          </p:cNvSpPr>
          <p:nvPr>
            <p:ph type="body" sz="quarter" idx="13" hasCustomPrompt="1"/>
          </p:nvPr>
        </p:nvSpPr>
        <p:spPr>
          <a:xfrm>
            <a:off x="763625" y="4247290"/>
            <a:ext cx="971550" cy="612775"/>
          </a:xfrm>
        </p:spPr>
        <p:txBody>
          <a:bodyPr anchor="b"/>
          <a:lstStyle>
            <a:lvl1pPr marL="0" indent="0">
              <a:buNone/>
              <a:defRPr sz="3150">
                <a:solidFill>
                  <a:schemeClr val="accent3"/>
                </a:solidFill>
                <a:latin typeface="+mj-lt"/>
              </a:defRPr>
            </a:lvl1pPr>
          </a:lstStyle>
          <a:p>
            <a:pPr lvl="0"/>
            <a:r>
              <a:rPr lang="en-US"/>
              <a:t>No.</a:t>
            </a:r>
          </a:p>
        </p:txBody>
      </p:sp>
      <p:sp>
        <p:nvSpPr>
          <p:cNvPr id="34" name="Text Placeholder 32">
            <a:extLst>
              <a:ext uri="{FF2B5EF4-FFF2-40B4-BE49-F238E27FC236}">
                <a16:creationId xmlns:a16="http://schemas.microsoft.com/office/drawing/2014/main" id="{21BA1502-68A3-8453-E0D9-1648C5E43C6E}"/>
              </a:ext>
            </a:extLst>
          </p:cNvPr>
          <p:cNvSpPr>
            <a:spLocks noGrp="1"/>
          </p:cNvSpPr>
          <p:nvPr>
            <p:ph type="body" sz="quarter" idx="14"/>
          </p:nvPr>
        </p:nvSpPr>
        <p:spPr>
          <a:xfrm>
            <a:off x="763624" y="5048473"/>
            <a:ext cx="5044343" cy="1186102"/>
          </a:xfrm>
        </p:spPr>
        <p:txBody>
          <a:bodyPr anchor="t"/>
          <a:lstStyle>
            <a:lvl1pPr marL="0" indent="0">
              <a:spcBef>
                <a:spcPts val="0"/>
              </a:spcBef>
              <a:buNone/>
              <a:defRPr sz="3150">
                <a:solidFill>
                  <a:schemeClr val="bg1"/>
                </a:solidFill>
                <a:latin typeface="+mj-lt"/>
              </a:defRPr>
            </a:lvl1pPr>
          </a:lstStyle>
          <a:p>
            <a:pPr lvl="0"/>
            <a:endParaRPr lang="en-US"/>
          </a:p>
        </p:txBody>
      </p:sp>
    </p:spTree>
    <p:extLst>
      <p:ext uri="{BB962C8B-B14F-4D97-AF65-F5344CB8AC3E}">
        <p14:creationId xmlns:p14="http://schemas.microsoft.com/office/powerpoint/2010/main" val="11405480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ection Heading 3">
    <p:spTree>
      <p:nvGrpSpPr>
        <p:cNvPr id="1" name=""/>
        <p:cNvGrpSpPr/>
        <p:nvPr/>
      </p:nvGrpSpPr>
      <p:grpSpPr>
        <a:xfrm>
          <a:off x="0" y="0"/>
          <a:ext cx="0" cy="0"/>
          <a:chOff x="0" y="0"/>
          <a:chExt cx="0" cy="0"/>
        </a:xfrm>
      </p:grpSpPr>
      <p:pic>
        <p:nvPicPr>
          <p:cNvPr id="4" name="Picture 3" descr="A group of people sitting at a table&#10;&#10;Description automatically generated">
            <a:extLst>
              <a:ext uri="{FF2B5EF4-FFF2-40B4-BE49-F238E27FC236}">
                <a16:creationId xmlns:a16="http://schemas.microsoft.com/office/drawing/2014/main" id="{C4B56A86-0C61-508E-E446-910B84BFE444}"/>
              </a:ext>
            </a:extLst>
          </p:cNvPr>
          <p:cNvPicPr>
            <a:picLocks noChangeAspect="1"/>
          </p:cNvPicPr>
          <p:nvPr userDrawn="1"/>
        </p:nvPicPr>
        <p:blipFill>
          <a:blip r:embed="rId2">
            <a:alphaModFix/>
            <a:extLst>
              <a:ext uri="{28A0092B-C50C-407E-A947-70E740481C1C}">
                <a14:useLocalDpi xmlns:a14="http://schemas.microsoft.com/office/drawing/2010/main" val="0"/>
              </a:ext>
            </a:extLst>
          </a:blip>
          <a:srcRect l="6334" t="8632" r="6805" b="-2426"/>
          <a:stretch/>
        </p:blipFill>
        <p:spPr>
          <a:xfrm flipH="1">
            <a:off x="345179" y="356616"/>
            <a:ext cx="11501642" cy="6501384"/>
          </a:xfrm>
          <a:prstGeom prst="rect">
            <a:avLst/>
          </a:prstGeom>
        </p:spPr>
      </p:pic>
      <p:grpSp>
        <p:nvGrpSpPr>
          <p:cNvPr id="6" name="object 2">
            <a:extLst>
              <a:ext uri="{FF2B5EF4-FFF2-40B4-BE49-F238E27FC236}">
                <a16:creationId xmlns:a16="http://schemas.microsoft.com/office/drawing/2014/main" id="{E20A98F7-5068-D6D6-256F-AA04A0AAC475}"/>
              </a:ext>
            </a:extLst>
          </p:cNvPr>
          <p:cNvGrpSpPr/>
          <p:nvPr userDrawn="1"/>
        </p:nvGrpSpPr>
        <p:grpSpPr>
          <a:xfrm>
            <a:off x="1588" y="3609687"/>
            <a:ext cx="12189054" cy="3247402"/>
            <a:chOff x="0" y="5952698"/>
            <a:chExt cx="20104477" cy="5356225"/>
          </a:xfrm>
        </p:grpSpPr>
        <p:sp>
          <p:nvSpPr>
            <p:cNvPr id="8" name="Rectangle 2">
              <a:extLst>
                <a:ext uri="{FF2B5EF4-FFF2-40B4-BE49-F238E27FC236}">
                  <a16:creationId xmlns:a16="http://schemas.microsoft.com/office/drawing/2014/main" id="{653A196A-472F-C814-BF71-AAC27920E9F4}"/>
                </a:ext>
              </a:extLst>
            </p:cNvPr>
            <p:cNvSpPr/>
            <p:nvPr/>
          </p:nvSpPr>
          <p:spPr>
            <a:xfrm>
              <a:off x="9957812" y="10994430"/>
              <a:ext cx="10146665" cy="314325"/>
            </a:xfrm>
            <a:custGeom>
              <a:avLst/>
              <a:gdLst/>
              <a:ahLst/>
              <a:cxnLst/>
              <a:rect l="l" t="t" r="r" b="b"/>
              <a:pathLst>
                <a:path w="10146665" h="314325">
                  <a:moveTo>
                    <a:pt x="0" y="314126"/>
                  </a:moveTo>
                  <a:lnTo>
                    <a:pt x="10146287" y="314126"/>
                  </a:lnTo>
                  <a:lnTo>
                    <a:pt x="10146287" y="0"/>
                  </a:lnTo>
                  <a:lnTo>
                    <a:pt x="0" y="0"/>
                  </a:lnTo>
                  <a:lnTo>
                    <a:pt x="0" y="314126"/>
                  </a:lnTo>
                  <a:close/>
                </a:path>
              </a:pathLst>
            </a:custGeom>
            <a:solidFill>
              <a:schemeClr val="accent3"/>
            </a:solidFill>
          </p:spPr>
          <p:txBody>
            <a:bodyPr wrap="square" lIns="0" tIns="0" rIns="0" bIns="0" rtlCol="0"/>
            <a:lstStyle/>
            <a:p>
              <a:endParaRPr kern="0">
                <a:solidFill>
                  <a:sysClr val="windowText" lastClr="000000"/>
                </a:solidFill>
              </a:endParaRPr>
            </a:p>
          </p:txBody>
        </p:sp>
        <p:sp>
          <p:nvSpPr>
            <p:cNvPr id="9" name="Rectangle 1">
              <a:extLst>
                <a:ext uri="{FF2B5EF4-FFF2-40B4-BE49-F238E27FC236}">
                  <a16:creationId xmlns:a16="http://schemas.microsoft.com/office/drawing/2014/main" id="{9F40ABCB-1BAF-6940-C2BD-98252ACE6F39}"/>
                </a:ext>
              </a:extLst>
            </p:cNvPr>
            <p:cNvSpPr/>
            <p:nvPr/>
          </p:nvSpPr>
          <p:spPr>
            <a:xfrm>
              <a:off x="0" y="5952698"/>
              <a:ext cx="9958070" cy="5356225"/>
            </a:xfrm>
            <a:custGeom>
              <a:avLst/>
              <a:gdLst/>
              <a:ahLst/>
              <a:cxnLst/>
              <a:rect l="l" t="t" r="r" b="b"/>
              <a:pathLst>
                <a:path w="9958070" h="5356225">
                  <a:moveTo>
                    <a:pt x="9957811" y="5355857"/>
                  </a:moveTo>
                  <a:lnTo>
                    <a:pt x="9957811" y="0"/>
                  </a:lnTo>
                  <a:lnTo>
                    <a:pt x="0" y="0"/>
                  </a:lnTo>
                  <a:lnTo>
                    <a:pt x="0" y="5355857"/>
                  </a:lnTo>
                  <a:lnTo>
                    <a:pt x="9957811" y="5355857"/>
                  </a:lnTo>
                  <a:close/>
                </a:path>
              </a:pathLst>
            </a:custGeom>
            <a:solidFill>
              <a:schemeClr val="tx2">
                <a:alpha val="94999"/>
              </a:schemeClr>
            </a:solidFill>
          </p:spPr>
          <p:txBody>
            <a:bodyPr wrap="square" lIns="0" tIns="0" rIns="0" bIns="0" rtlCol="0"/>
            <a:lstStyle/>
            <a:p>
              <a:endParaRPr kern="0">
                <a:solidFill>
                  <a:sysClr val="windowText" lastClr="000000"/>
                </a:solidFill>
              </a:endParaRPr>
            </a:p>
          </p:txBody>
        </p:sp>
        <p:sp>
          <p:nvSpPr>
            <p:cNvPr id="10" name="object 6">
              <a:extLst>
                <a:ext uri="{FF2B5EF4-FFF2-40B4-BE49-F238E27FC236}">
                  <a16:creationId xmlns:a16="http://schemas.microsoft.com/office/drawing/2014/main" id="{996BBF15-E439-1625-5BB7-79ACA6CC314C}"/>
                </a:ext>
              </a:extLst>
            </p:cNvPr>
            <p:cNvSpPr/>
            <p:nvPr/>
          </p:nvSpPr>
          <p:spPr>
            <a:xfrm>
              <a:off x="0" y="5952698"/>
              <a:ext cx="1979295" cy="125730"/>
            </a:xfrm>
            <a:custGeom>
              <a:avLst/>
              <a:gdLst/>
              <a:ahLst/>
              <a:cxnLst/>
              <a:rect l="l" t="t" r="r" b="b"/>
              <a:pathLst>
                <a:path w="1979295" h="125729">
                  <a:moveTo>
                    <a:pt x="1978997" y="0"/>
                  </a:moveTo>
                  <a:lnTo>
                    <a:pt x="0" y="0"/>
                  </a:lnTo>
                  <a:lnTo>
                    <a:pt x="0" y="125650"/>
                  </a:lnTo>
                  <a:lnTo>
                    <a:pt x="1978997" y="125650"/>
                  </a:lnTo>
                  <a:lnTo>
                    <a:pt x="1978997" y="0"/>
                  </a:lnTo>
                  <a:close/>
                </a:path>
              </a:pathLst>
            </a:custGeom>
            <a:solidFill>
              <a:srgbClr val="FFD700"/>
            </a:solidFill>
            <a:ln>
              <a:solidFill>
                <a:schemeClr val="accent4"/>
              </a:solidFill>
            </a:ln>
          </p:spPr>
          <p:txBody>
            <a:bodyPr wrap="square" lIns="0" tIns="0" rIns="0" bIns="0" rtlCol="0"/>
            <a:lstStyle/>
            <a:p>
              <a:endParaRPr kern="0">
                <a:solidFill>
                  <a:sysClr val="windowText" lastClr="000000"/>
                </a:solidFill>
              </a:endParaRPr>
            </a:p>
          </p:txBody>
        </p:sp>
      </p:grpSp>
      <p:grpSp>
        <p:nvGrpSpPr>
          <p:cNvPr id="17" name="Group 16">
            <a:extLst>
              <a:ext uri="{FF2B5EF4-FFF2-40B4-BE49-F238E27FC236}">
                <a16:creationId xmlns:a16="http://schemas.microsoft.com/office/drawing/2014/main" id="{73290CE5-C884-7254-7D58-13D3AB8FB22B}"/>
              </a:ext>
            </a:extLst>
          </p:cNvPr>
          <p:cNvGrpSpPr/>
          <p:nvPr userDrawn="1"/>
        </p:nvGrpSpPr>
        <p:grpSpPr>
          <a:xfrm>
            <a:off x="10768672" y="6279572"/>
            <a:ext cx="694340" cy="190186"/>
            <a:chOff x="10768672" y="6279572"/>
            <a:chExt cx="694340" cy="190186"/>
          </a:xfrm>
        </p:grpSpPr>
        <p:grpSp>
          <p:nvGrpSpPr>
            <p:cNvPr id="18" name="object 26">
              <a:extLst>
                <a:ext uri="{FF2B5EF4-FFF2-40B4-BE49-F238E27FC236}">
                  <a16:creationId xmlns:a16="http://schemas.microsoft.com/office/drawing/2014/main" id="{BA7625BB-3FD0-781B-A19D-44D80F183F3C}"/>
                </a:ext>
              </a:extLst>
            </p:cNvPr>
            <p:cNvGrpSpPr/>
            <p:nvPr/>
          </p:nvGrpSpPr>
          <p:grpSpPr>
            <a:xfrm>
              <a:off x="10768672" y="6279841"/>
              <a:ext cx="348802" cy="189801"/>
              <a:chOff x="17759098" y="10356815"/>
              <a:chExt cx="575310" cy="313055"/>
            </a:xfrm>
          </p:grpSpPr>
          <p:sp>
            <p:nvSpPr>
              <p:cNvPr id="20" name="object 27">
                <a:extLst>
                  <a:ext uri="{FF2B5EF4-FFF2-40B4-BE49-F238E27FC236}">
                    <a16:creationId xmlns:a16="http://schemas.microsoft.com/office/drawing/2014/main" id="{23E17969-E517-C529-A29A-F24CFCE48023}"/>
                  </a:ext>
                </a:extLst>
              </p:cNvPr>
              <p:cNvSpPr/>
              <p:nvPr/>
            </p:nvSpPr>
            <p:spPr>
              <a:xfrm>
                <a:off x="17759098" y="10361392"/>
                <a:ext cx="281940" cy="302895"/>
              </a:xfrm>
              <a:custGeom>
                <a:avLst/>
                <a:gdLst/>
                <a:ahLst/>
                <a:cxnLst/>
                <a:rect l="l" t="t" r="r" b="b"/>
                <a:pathLst>
                  <a:path w="281940" h="302895">
                    <a:moveTo>
                      <a:pt x="281478" y="0"/>
                    </a:moveTo>
                    <a:lnTo>
                      <a:pt x="202936" y="0"/>
                    </a:lnTo>
                    <a:lnTo>
                      <a:pt x="202936" y="174308"/>
                    </a:lnTo>
                    <a:lnTo>
                      <a:pt x="80364" y="0"/>
                    </a:lnTo>
                    <a:lnTo>
                      <a:pt x="0" y="0"/>
                    </a:lnTo>
                    <a:lnTo>
                      <a:pt x="0" y="302723"/>
                    </a:lnTo>
                    <a:lnTo>
                      <a:pt x="78049" y="302723"/>
                    </a:lnTo>
                    <a:lnTo>
                      <a:pt x="78049" y="119807"/>
                    </a:lnTo>
                    <a:lnTo>
                      <a:pt x="206129" y="302776"/>
                    </a:lnTo>
                    <a:lnTo>
                      <a:pt x="281478" y="302776"/>
                    </a:lnTo>
                    <a:lnTo>
                      <a:pt x="281478" y="0"/>
                    </a:lnTo>
                    <a:close/>
                  </a:path>
                </a:pathLst>
              </a:custGeom>
              <a:solidFill>
                <a:srgbClr val="FFFFFF"/>
              </a:solidFill>
            </p:spPr>
            <p:txBody>
              <a:bodyPr wrap="square" lIns="0" tIns="0" rIns="0" bIns="0" rtlCol="0"/>
              <a:lstStyle/>
              <a:p>
                <a:endParaRPr kern="0">
                  <a:solidFill>
                    <a:sysClr val="windowText" lastClr="000000"/>
                  </a:solidFill>
                </a:endParaRPr>
              </a:p>
            </p:txBody>
          </p:sp>
          <p:sp>
            <p:nvSpPr>
              <p:cNvPr id="21" name="object 28">
                <a:extLst>
                  <a:ext uri="{FF2B5EF4-FFF2-40B4-BE49-F238E27FC236}">
                    <a16:creationId xmlns:a16="http://schemas.microsoft.com/office/drawing/2014/main" id="{633E22B1-7C4B-F806-5260-945B128FF0DB}"/>
                  </a:ext>
                </a:extLst>
              </p:cNvPr>
              <p:cNvSpPr/>
              <p:nvPr/>
            </p:nvSpPr>
            <p:spPr>
              <a:xfrm>
                <a:off x="18073618" y="10356815"/>
                <a:ext cx="260985" cy="313055"/>
              </a:xfrm>
              <a:custGeom>
                <a:avLst/>
                <a:gdLst/>
                <a:ahLst/>
                <a:cxnLst/>
                <a:rect l="l" t="t" r="r" b="b"/>
                <a:pathLst>
                  <a:path w="260984" h="313054">
                    <a:moveTo>
                      <a:pt x="130289" y="0"/>
                    </a:moveTo>
                    <a:lnTo>
                      <a:pt x="78682" y="7671"/>
                    </a:lnTo>
                    <a:lnTo>
                      <a:pt x="40822" y="28360"/>
                    </a:lnTo>
                    <a:lnTo>
                      <a:pt x="17523" y="58574"/>
                    </a:lnTo>
                    <a:lnTo>
                      <a:pt x="9601" y="94824"/>
                    </a:lnTo>
                    <a:lnTo>
                      <a:pt x="21302" y="138425"/>
                    </a:lnTo>
                    <a:lnTo>
                      <a:pt x="50787" y="165184"/>
                    </a:lnTo>
                    <a:lnTo>
                      <a:pt x="89631" y="180370"/>
                    </a:lnTo>
                    <a:lnTo>
                      <a:pt x="129409" y="189250"/>
                    </a:lnTo>
                    <a:lnTo>
                      <a:pt x="151085" y="194533"/>
                    </a:lnTo>
                    <a:lnTo>
                      <a:pt x="167360" y="200784"/>
                    </a:lnTo>
                    <a:lnTo>
                      <a:pt x="177593" y="208990"/>
                    </a:lnTo>
                    <a:lnTo>
                      <a:pt x="181146" y="220139"/>
                    </a:lnTo>
                    <a:lnTo>
                      <a:pt x="178169" y="230305"/>
                    </a:lnTo>
                    <a:lnTo>
                      <a:pt x="169613" y="238518"/>
                    </a:lnTo>
                    <a:lnTo>
                      <a:pt x="156042" y="244011"/>
                    </a:lnTo>
                    <a:lnTo>
                      <a:pt x="138016" y="246013"/>
                    </a:lnTo>
                    <a:lnTo>
                      <a:pt x="108540" y="242837"/>
                    </a:lnTo>
                    <a:lnTo>
                      <a:pt x="82344" y="234216"/>
                    </a:lnTo>
                    <a:lnTo>
                      <a:pt x="59809" y="221510"/>
                    </a:lnTo>
                    <a:lnTo>
                      <a:pt x="41318" y="206025"/>
                    </a:lnTo>
                    <a:lnTo>
                      <a:pt x="0" y="264599"/>
                    </a:lnTo>
                    <a:lnTo>
                      <a:pt x="25223" y="284356"/>
                    </a:lnTo>
                    <a:lnTo>
                      <a:pt x="55622" y="299531"/>
                    </a:lnTo>
                    <a:lnTo>
                      <a:pt x="91803" y="309266"/>
                    </a:lnTo>
                    <a:lnTo>
                      <a:pt x="134372" y="312702"/>
                    </a:lnTo>
                    <a:lnTo>
                      <a:pt x="188371" y="305443"/>
                    </a:lnTo>
                    <a:lnTo>
                      <a:pt x="227945" y="284908"/>
                    </a:lnTo>
                    <a:lnTo>
                      <a:pt x="252285" y="252965"/>
                    </a:lnTo>
                    <a:lnTo>
                      <a:pt x="260578" y="211480"/>
                    </a:lnTo>
                    <a:lnTo>
                      <a:pt x="249016" y="169435"/>
                    </a:lnTo>
                    <a:lnTo>
                      <a:pt x="219837" y="142952"/>
                    </a:lnTo>
                    <a:lnTo>
                      <a:pt x="181299" y="127359"/>
                    </a:lnTo>
                    <a:lnTo>
                      <a:pt x="141660" y="117985"/>
                    </a:lnTo>
                    <a:lnTo>
                      <a:pt x="119330" y="113216"/>
                    </a:lnTo>
                    <a:lnTo>
                      <a:pt x="102966" y="107720"/>
                    </a:lnTo>
                    <a:lnTo>
                      <a:pt x="92902" y="100435"/>
                    </a:lnTo>
                    <a:lnTo>
                      <a:pt x="89473" y="90300"/>
                    </a:lnTo>
                    <a:lnTo>
                      <a:pt x="91313" y="81050"/>
                    </a:lnTo>
                    <a:lnTo>
                      <a:pt x="97367" y="73551"/>
                    </a:lnTo>
                    <a:lnTo>
                      <a:pt x="108437" y="68524"/>
                    </a:lnTo>
                    <a:lnTo>
                      <a:pt x="125326" y="66689"/>
                    </a:lnTo>
                    <a:lnTo>
                      <a:pt x="146369" y="68645"/>
                    </a:lnTo>
                    <a:lnTo>
                      <a:pt x="168489" y="74516"/>
                    </a:lnTo>
                    <a:lnTo>
                      <a:pt x="190362" y="84305"/>
                    </a:lnTo>
                    <a:lnTo>
                      <a:pt x="210663" y="98017"/>
                    </a:lnTo>
                    <a:lnTo>
                      <a:pt x="253301" y="42197"/>
                    </a:lnTo>
                    <a:lnTo>
                      <a:pt x="227314" y="23920"/>
                    </a:lnTo>
                    <a:lnTo>
                      <a:pt x="197916" y="10713"/>
                    </a:lnTo>
                    <a:lnTo>
                      <a:pt x="165458" y="2698"/>
                    </a:lnTo>
                    <a:lnTo>
                      <a:pt x="130289" y="0"/>
                    </a:lnTo>
                    <a:close/>
                  </a:path>
                </a:pathLst>
              </a:custGeom>
              <a:solidFill>
                <a:srgbClr val="00BFFF"/>
              </a:solidFill>
            </p:spPr>
            <p:txBody>
              <a:bodyPr wrap="square" lIns="0" tIns="0" rIns="0" bIns="0" rtlCol="0"/>
              <a:lstStyle/>
              <a:p>
                <a:endParaRPr kern="0">
                  <a:solidFill>
                    <a:sysClr val="windowText" lastClr="000000"/>
                  </a:solidFill>
                </a:endParaRPr>
              </a:p>
            </p:txBody>
          </p:sp>
        </p:grpSp>
        <p:sp>
          <p:nvSpPr>
            <p:cNvPr id="19" name="object 29">
              <a:extLst>
                <a:ext uri="{FF2B5EF4-FFF2-40B4-BE49-F238E27FC236}">
                  <a16:creationId xmlns:a16="http://schemas.microsoft.com/office/drawing/2014/main" id="{1E1B9F0F-5BE2-6336-D2A0-3B9AABE4CF33}"/>
                </a:ext>
              </a:extLst>
            </p:cNvPr>
            <p:cNvSpPr/>
            <p:nvPr/>
          </p:nvSpPr>
          <p:spPr>
            <a:xfrm>
              <a:off x="11126915" y="6279572"/>
              <a:ext cx="336097" cy="190186"/>
            </a:xfrm>
            <a:custGeom>
              <a:avLst/>
              <a:gdLst/>
              <a:ahLst/>
              <a:cxnLst/>
              <a:rect l="l" t="t" r="r" b="b"/>
              <a:pathLst>
                <a:path w="554355" h="313690">
                  <a:moveTo>
                    <a:pt x="247383" y="4508"/>
                  </a:moveTo>
                  <a:lnTo>
                    <a:pt x="0" y="4508"/>
                  </a:lnTo>
                  <a:lnTo>
                    <a:pt x="0" y="73088"/>
                  </a:lnTo>
                  <a:lnTo>
                    <a:pt x="84886" y="73088"/>
                  </a:lnTo>
                  <a:lnTo>
                    <a:pt x="84886" y="308038"/>
                  </a:lnTo>
                  <a:lnTo>
                    <a:pt x="162928" y="308038"/>
                  </a:lnTo>
                  <a:lnTo>
                    <a:pt x="162928" y="73088"/>
                  </a:lnTo>
                  <a:lnTo>
                    <a:pt x="247383" y="73088"/>
                  </a:lnTo>
                  <a:lnTo>
                    <a:pt x="247383" y="4508"/>
                  </a:lnTo>
                  <a:close/>
                </a:path>
                <a:path w="554355" h="313690">
                  <a:moveTo>
                    <a:pt x="554139" y="81254"/>
                  </a:moveTo>
                  <a:lnTo>
                    <a:pt x="535305" y="51714"/>
                  </a:lnTo>
                  <a:lnTo>
                    <a:pt x="507720" y="25654"/>
                  </a:lnTo>
                  <a:lnTo>
                    <a:pt x="469734" y="7086"/>
                  </a:lnTo>
                  <a:lnTo>
                    <a:pt x="419760" y="0"/>
                  </a:lnTo>
                  <a:lnTo>
                    <a:pt x="368109" y="7315"/>
                  </a:lnTo>
                  <a:lnTo>
                    <a:pt x="323684" y="28206"/>
                  </a:lnTo>
                  <a:lnTo>
                    <a:pt x="288937" y="61087"/>
                  </a:lnTo>
                  <a:lnTo>
                    <a:pt x="266293" y="104419"/>
                  </a:lnTo>
                  <a:lnTo>
                    <a:pt x="258191" y="156603"/>
                  </a:lnTo>
                  <a:lnTo>
                    <a:pt x="266280" y="208622"/>
                  </a:lnTo>
                  <a:lnTo>
                    <a:pt x="288912" y="251929"/>
                  </a:lnTo>
                  <a:lnTo>
                    <a:pt x="323672" y="284886"/>
                  </a:lnTo>
                  <a:lnTo>
                    <a:pt x="368096" y="305854"/>
                  </a:lnTo>
                  <a:lnTo>
                    <a:pt x="419760" y="313207"/>
                  </a:lnTo>
                  <a:lnTo>
                    <a:pt x="469798" y="306006"/>
                  </a:lnTo>
                  <a:lnTo>
                    <a:pt x="507885" y="287223"/>
                  </a:lnTo>
                  <a:lnTo>
                    <a:pt x="535495" y="261124"/>
                  </a:lnTo>
                  <a:lnTo>
                    <a:pt x="554139" y="231952"/>
                  </a:lnTo>
                  <a:lnTo>
                    <a:pt x="486943" y="200190"/>
                  </a:lnTo>
                  <a:lnTo>
                    <a:pt x="476643" y="217208"/>
                  </a:lnTo>
                  <a:lnTo>
                    <a:pt x="461352" y="231216"/>
                  </a:lnTo>
                  <a:lnTo>
                    <a:pt x="442074" y="240703"/>
                  </a:lnTo>
                  <a:lnTo>
                    <a:pt x="419760" y="244208"/>
                  </a:lnTo>
                  <a:lnTo>
                    <a:pt x="387032" y="237477"/>
                  </a:lnTo>
                  <a:lnTo>
                    <a:pt x="361010" y="218960"/>
                  </a:lnTo>
                  <a:lnTo>
                    <a:pt x="343827" y="191160"/>
                  </a:lnTo>
                  <a:lnTo>
                    <a:pt x="337629" y="156603"/>
                  </a:lnTo>
                  <a:lnTo>
                    <a:pt x="343827" y="122047"/>
                  </a:lnTo>
                  <a:lnTo>
                    <a:pt x="360984" y="94246"/>
                  </a:lnTo>
                  <a:lnTo>
                    <a:pt x="387007" y="75730"/>
                  </a:lnTo>
                  <a:lnTo>
                    <a:pt x="419760" y="69011"/>
                  </a:lnTo>
                  <a:lnTo>
                    <a:pt x="442074" y="72504"/>
                  </a:lnTo>
                  <a:lnTo>
                    <a:pt x="461352" y="81991"/>
                  </a:lnTo>
                  <a:lnTo>
                    <a:pt x="476643" y="95999"/>
                  </a:lnTo>
                  <a:lnTo>
                    <a:pt x="486943" y="113030"/>
                  </a:lnTo>
                  <a:lnTo>
                    <a:pt x="554139" y="81254"/>
                  </a:lnTo>
                  <a:close/>
                </a:path>
              </a:pathLst>
            </a:custGeom>
            <a:solidFill>
              <a:srgbClr val="FFFFFF"/>
            </a:solidFill>
          </p:spPr>
          <p:txBody>
            <a:bodyPr wrap="square" lIns="0" tIns="0" rIns="0" bIns="0" rtlCol="0"/>
            <a:lstStyle/>
            <a:p>
              <a:endParaRPr kern="0">
                <a:solidFill>
                  <a:sysClr val="windowText" lastClr="000000"/>
                </a:solidFill>
              </a:endParaRPr>
            </a:p>
          </p:txBody>
        </p:sp>
      </p:grpSp>
      <p:sp>
        <p:nvSpPr>
          <p:cNvPr id="31" name="Slide Number Box">
            <a:extLst>
              <a:ext uri="{FF2B5EF4-FFF2-40B4-BE49-F238E27FC236}">
                <a16:creationId xmlns:a16="http://schemas.microsoft.com/office/drawing/2014/main" id="{C8C30A0E-C945-097E-4049-68ECCF8C1045}"/>
              </a:ext>
            </a:extLst>
          </p:cNvPr>
          <p:cNvSpPr txBox="1"/>
          <p:nvPr userDrawn="1"/>
        </p:nvSpPr>
        <p:spPr>
          <a:xfrm>
            <a:off x="11566535" y="6234575"/>
            <a:ext cx="279503" cy="283464"/>
          </a:xfrm>
          <a:prstGeom prst="rect">
            <a:avLst/>
          </a:prstGeom>
          <a:solidFill>
            <a:srgbClr val="FFD700"/>
          </a:solidFill>
        </p:spPr>
        <p:txBody>
          <a:bodyPr vert="horz" wrap="square" lIns="0" tIns="38884" rIns="0" bIns="0" rtlCol="0">
            <a:spAutoFit/>
          </a:bodyPr>
          <a:lstStyle/>
          <a:p>
            <a:pPr marL="55825" algn="ctr">
              <a:spcBef>
                <a:spcPts val="306"/>
              </a:spcBef>
            </a:pPr>
            <a:endParaRPr sz="1182">
              <a:latin typeface="Real Head Pro"/>
              <a:cs typeface="Real Head Pro"/>
            </a:endParaRPr>
          </a:p>
        </p:txBody>
      </p:sp>
      <p:sp>
        <p:nvSpPr>
          <p:cNvPr id="30" name="Slide Number Placeholder 29">
            <a:extLst>
              <a:ext uri="{FF2B5EF4-FFF2-40B4-BE49-F238E27FC236}">
                <a16:creationId xmlns:a16="http://schemas.microsoft.com/office/drawing/2014/main" id="{D8EDAEDC-029D-D60B-2150-4EAF1A427744}"/>
              </a:ext>
            </a:extLst>
          </p:cNvPr>
          <p:cNvSpPr>
            <a:spLocks noGrp="1"/>
          </p:cNvSpPr>
          <p:nvPr>
            <p:ph type="sldNum" sz="quarter" idx="12"/>
          </p:nvPr>
        </p:nvSpPr>
        <p:spPr/>
        <p:txBody>
          <a:bodyPr/>
          <a:lstStyle/>
          <a:p>
            <a:fld id="{FF7D9A68-EC15-4B1F-850C-8A6CCAFA90D8}" type="slidenum">
              <a:rPr lang="en-US" smtClean="0"/>
              <a:pPr/>
              <a:t>‹#›</a:t>
            </a:fld>
            <a:endParaRPr lang="en-US"/>
          </a:p>
        </p:txBody>
      </p:sp>
      <p:sp>
        <p:nvSpPr>
          <p:cNvPr id="33" name="Text Placeholder 32">
            <a:extLst>
              <a:ext uri="{FF2B5EF4-FFF2-40B4-BE49-F238E27FC236}">
                <a16:creationId xmlns:a16="http://schemas.microsoft.com/office/drawing/2014/main" id="{60F66712-A08A-F036-E80E-9ED43BDD061A}"/>
              </a:ext>
            </a:extLst>
          </p:cNvPr>
          <p:cNvSpPr>
            <a:spLocks noGrp="1"/>
          </p:cNvSpPr>
          <p:nvPr>
            <p:ph type="body" sz="quarter" idx="13" hasCustomPrompt="1"/>
          </p:nvPr>
        </p:nvSpPr>
        <p:spPr>
          <a:xfrm>
            <a:off x="763625" y="4247290"/>
            <a:ext cx="971550" cy="612775"/>
          </a:xfrm>
        </p:spPr>
        <p:txBody>
          <a:bodyPr anchor="b"/>
          <a:lstStyle>
            <a:lvl1pPr marL="0" indent="0">
              <a:buNone/>
              <a:defRPr sz="3150">
                <a:solidFill>
                  <a:schemeClr val="accent3"/>
                </a:solidFill>
                <a:latin typeface="+mj-lt"/>
              </a:defRPr>
            </a:lvl1pPr>
          </a:lstStyle>
          <a:p>
            <a:pPr lvl="0"/>
            <a:r>
              <a:rPr lang="en-US"/>
              <a:t>No.</a:t>
            </a:r>
          </a:p>
        </p:txBody>
      </p:sp>
      <p:sp>
        <p:nvSpPr>
          <p:cNvPr id="34" name="Text Placeholder 32">
            <a:extLst>
              <a:ext uri="{FF2B5EF4-FFF2-40B4-BE49-F238E27FC236}">
                <a16:creationId xmlns:a16="http://schemas.microsoft.com/office/drawing/2014/main" id="{21BA1502-68A3-8453-E0D9-1648C5E43C6E}"/>
              </a:ext>
            </a:extLst>
          </p:cNvPr>
          <p:cNvSpPr>
            <a:spLocks noGrp="1"/>
          </p:cNvSpPr>
          <p:nvPr>
            <p:ph type="body" sz="quarter" idx="14"/>
          </p:nvPr>
        </p:nvSpPr>
        <p:spPr>
          <a:xfrm>
            <a:off x="763624" y="5048473"/>
            <a:ext cx="5044343" cy="1186102"/>
          </a:xfrm>
        </p:spPr>
        <p:txBody>
          <a:bodyPr anchor="t"/>
          <a:lstStyle>
            <a:lvl1pPr marL="0" indent="0">
              <a:spcBef>
                <a:spcPts val="0"/>
              </a:spcBef>
              <a:buNone/>
              <a:defRPr sz="3150">
                <a:solidFill>
                  <a:schemeClr val="bg1"/>
                </a:solidFill>
                <a:latin typeface="+mj-lt"/>
              </a:defRPr>
            </a:lvl1pPr>
          </a:lstStyle>
          <a:p>
            <a:pPr lvl="0"/>
            <a:endParaRPr lang="en-US"/>
          </a:p>
        </p:txBody>
      </p:sp>
    </p:spTree>
    <p:extLst>
      <p:ext uri="{BB962C8B-B14F-4D97-AF65-F5344CB8AC3E}">
        <p14:creationId xmlns:p14="http://schemas.microsoft.com/office/powerpoint/2010/main" val="40312371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Goal Blue">
    <p:bg>
      <p:bgPr>
        <a:solidFill>
          <a:schemeClr val="accent1"/>
        </a:solidFill>
        <a:effectLst/>
      </p:bgPr>
    </p:bg>
    <p:spTree>
      <p:nvGrpSpPr>
        <p:cNvPr id="1" name=""/>
        <p:cNvGrpSpPr/>
        <p:nvPr/>
      </p:nvGrpSpPr>
      <p:grpSpPr>
        <a:xfrm>
          <a:off x="0" y="0"/>
          <a:ext cx="0" cy="0"/>
          <a:chOff x="0" y="0"/>
          <a:chExt cx="0" cy="0"/>
        </a:xfrm>
      </p:grpSpPr>
      <p:pic>
        <p:nvPicPr>
          <p:cNvPr id="11" name="Picture 10" descr="A close-up of a computer chip&#10;&#10;Description automatically generated">
            <a:extLst>
              <a:ext uri="{FF2B5EF4-FFF2-40B4-BE49-F238E27FC236}">
                <a16:creationId xmlns:a16="http://schemas.microsoft.com/office/drawing/2014/main" id="{AFB7EDC3-507C-306C-355A-6D062AF5A243}"/>
              </a:ext>
            </a:extLst>
          </p:cNvPr>
          <p:cNvPicPr>
            <a:picLocks noChangeAspect="1"/>
          </p:cNvPicPr>
          <p:nvPr userDrawn="1"/>
        </p:nvPicPr>
        <p:blipFill>
          <a:blip r:embed="rId2">
            <a:alphaModFix amt="35000"/>
            <a:extLst>
              <a:ext uri="{BEBA8EAE-BF5A-486C-A8C5-ECC9F3942E4B}">
                <a14:imgProps xmlns:a14="http://schemas.microsoft.com/office/drawing/2010/main">
                  <a14:imgLayer r:embed="rId3">
                    <a14:imgEffect>
                      <a14:brightnessContrast bright="-8000"/>
                    </a14:imgEffect>
                  </a14:imgLayer>
                </a14:imgProps>
              </a:ext>
              <a:ext uri="{28A0092B-C50C-407E-A947-70E740481C1C}">
                <a14:useLocalDpi xmlns:a14="http://schemas.microsoft.com/office/drawing/2010/main" val="0"/>
              </a:ext>
            </a:extLst>
          </a:blip>
          <a:srcRect l="4344" t="5917" r="3550" b="-446"/>
          <a:stretch/>
        </p:blipFill>
        <p:spPr>
          <a:xfrm>
            <a:off x="312656" y="894"/>
            <a:ext cx="11879344" cy="6856213"/>
          </a:xfrm>
          <a:prstGeom prst="rect">
            <a:avLst/>
          </a:prstGeom>
        </p:spPr>
      </p:pic>
      <p:pic>
        <p:nvPicPr>
          <p:cNvPr id="10" name="object 6">
            <a:extLst>
              <a:ext uri="{FF2B5EF4-FFF2-40B4-BE49-F238E27FC236}">
                <a16:creationId xmlns:a16="http://schemas.microsoft.com/office/drawing/2014/main" id="{8D45ED68-EE69-DC89-396D-91065193DCE6}"/>
              </a:ext>
            </a:extLst>
          </p:cNvPr>
          <p:cNvPicPr/>
          <p:nvPr userDrawn="1"/>
        </p:nvPicPr>
        <p:blipFill>
          <a:blip r:embed="rId4" cstate="print">
            <a:alphaModFix amt="15000"/>
          </a:blip>
          <a:stretch>
            <a:fillRect/>
          </a:stretch>
        </p:blipFill>
        <p:spPr>
          <a:xfrm>
            <a:off x="3176" y="893"/>
            <a:ext cx="12188824" cy="6856214"/>
          </a:xfrm>
          <a:prstGeom prst="rect">
            <a:avLst/>
          </a:prstGeom>
        </p:spPr>
      </p:pic>
      <p:sp>
        <p:nvSpPr>
          <p:cNvPr id="3" name="Date Placeholder 2">
            <a:extLst>
              <a:ext uri="{FF2B5EF4-FFF2-40B4-BE49-F238E27FC236}">
                <a16:creationId xmlns:a16="http://schemas.microsoft.com/office/drawing/2014/main" id="{E55CDA05-569A-6EBA-D765-5EB024851ABA}"/>
              </a:ext>
            </a:extLst>
          </p:cNvPr>
          <p:cNvSpPr>
            <a:spLocks noGrp="1"/>
          </p:cNvSpPr>
          <p:nvPr>
            <p:ph type="dt" sz="half" idx="10"/>
          </p:nvPr>
        </p:nvSpPr>
        <p:spPr/>
        <p:txBody>
          <a:bodyPr/>
          <a:lstStyle/>
          <a:p>
            <a:fld id="{9A5D80D6-DF3C-4908-938F-A45E5DC17A7C}" type="datetime1">
              <a:rPr lang="en-US" smtClean="0"/>
              <a:t>4/2/2025</a:t>
            </a:fld>
            <a:endParaRPr lang="en-US"/>
          </a:p>
        </p:txBody>
      </p:sp>
      <p:sp>
        <p:nvSpPr>
          <p:cNvPr id="4" name="Footer Placeholder 3">
            <a:extLst>
              <a:ext uri="{FF2B5EF4-FFF2-40B4-BE49-F238E27FC236}">
                <a16:creationId xmlns:a16="http://schemas.microsoft.com/office/drawing/2014/main" id="{848FA293-53F9-C37F-ACE7-61D7FAEC68E6}"/>
              </a:ext>
            </a:extLst>
          </p:cNvPr>
          <p:cNvSpPr>
            <a:spLocks noGrp="1"/>
          </p:cNvSpPr>
          <p:nvPr>
            <p:ph type="ftr" sz="quarter" idx="11"/>
          </p:nvPr>
        </p:nvSpPr>
        <p:spPr/>
        <p:txBody>
          <a:bodyPr/>
          <a:lstStyle/>
          <a:p>
            <a:endParaRPr lang="en-US"/>
          </a:p>
        </p:txBody>
      </p:sp>
      <p:sp>
        <p:nvSpPr>
          <p:cNvPr id="18" name="object 20">
            <a:extLst>
              <a:ext uri="{FF2B5EF4-FFF2-40B4-BE49-F238E27FC236}">
                <a16:creationId xmlns:a16="http://schemas.microsoft.com/office/drawing/2014/main" id="{2A1F6A7A-A329-634A-D133-60BEFAF665F6}"/>
              </a:ext>
            </a:extLst>
          </p:cNvPr>
          <p:cNvSpPr/>
          <p:nvPr userDrawn="1"/>
        </p:nvSpPr>
        <p:spPr>
          <a:xfrm>
            <a:off x="730059" y="652"/>
            <a:ext cx="968253" cy="152457"/>
          </a:xfrm>
          <a:custGeom>
            <a:avLst/>
            <a:gdLst/>
            <a:ahLst/>
            <a:cxnLst/>
            <a:rect l="l" t="t" r="r" b="b"/>
            <a:pathLst>
              <a:path w="1597025" h="251460">
                <a:moveTo>
                  <a:pt x="1596810" y="0"/>
                </a:moveTo>
                <a:lnTo>
                  <a:pt x="0" y="0"/>
                </a:lnTo>
                <a:lnTo>
                  <a:pt x="0" y="251301"/>
                </a:lnTo>
                <a:lnTo>
                  <a:pt x="1596810" y="251301"/>
                </a:lnTo>
                <a:lnTo>
                  <a:pt x="1596810" y="0"/>
                </a:lnTo>
                <a:close/>
              </a:path>
            </a:pathLst>
          </a:custGeom>
          <a:solidFill>
            <a:schemeClr val="accent3"/>
          </a:solidFill>
        </p:spPr>
        <p:txBody>
          <a:bodyPr wrap="square" lIns="0" tIns="0" rIns="0" bIns="0" rtlCol="0"/>
          <a:lstStyle/>
          <a:p>
            <a:endParaRPr/>
          </a:p>
        </p:txBody>
      </p:sp>
      <p:sp>
        <p:nvSpPr>
          <p:cNvPr id="25" name="Slide Number Box">
            <a:extLst>
              <a:ext uri="{FF2B5EF4-FFF2-40B4-BE49-F238E27FC236}">
                <a16:creationId xmlns:a16="http://schemas.microsoft.com/office/drawing/2014/main" id="{E09E9657-6864-4EF7-5B2D-CC7D45433A23}"/>
              </a:ext>
            </a:extLst>
          </p:cNvPr>
          <p:cNvSpPr txBox="1"/>
          <p:nvPr userDrawn="1"/>
        </p:nvSpPr>
        <p:spPr>
          <a:xfrm>
            <a:off x="11566535" y="6234575"/>
            <a:ext cx="279503" cy="283464"/>
          </a:xfrm>
          <a:prstGeom prst="rect">
            <a:avLst/>
          </a:prstGeom>
          <a:solidFill>
            <a:srgbClr val="FFD700"/>
          </a:solidFill>
        </p:spPr>
        <p:txBody>
          <a:bodyPr vert="horz" wrap="square" lIns="0" tIns="38884" rIns="0" bIns="0" rtlCol="0">
            <a:spAutoFit/>
          </a:bodyPr>
          <a:lstStyle/>
          <a:p>
            <a:pPr marL="55825" algn="ctr">
              <a:spcBef>
                <a:spcPts val="306"/>
              </a:spcBef>
            </a:pPr>
            <a:endParaRPr sz="1182">
              <a:latin typeface="Real Head Pro"/>
              <a:cs typeface="Real Head Pro"/>
            </a:endParaRPr>
          </a:p>
        </p:txBody>
      </p:sp>
      <p:sp>
        <p:nvSpPr>
          <p:cNvPr id="5" name="Slide Number Placeholder 4">
            <a:extLst>
              <a:ext uri="{FF2B5EF4-FFF2-40B4-BE49-F238E27FC236}">
                <a16:creationId xmlns:a16="http://schemas.microsoft.com/office/drawing/2014/main" id="{56863585-6F80-51FC-FAE2-A476E166644D}"/>
              </a:ext>
            </a:extLst>
          </p:cNvPr>
          <p:cNvSpPr>
            <a:spLocks noGrp="1"/>
          </p:cNvSpPr>
          <p:nvPr>
            <p:ph type="sldNum" sz="quarter" idx="12"/>
          </p:nvPr>
        </p:nvSpPr>
        <p:spPr/>
        <p:txBody>
          <a:bodyPr/>
          <a:lstStyle/>
          <a:p>
            <a:fld id="{FF7D9A68-EC15-4B1F-850C-8A6CCAFA90D8}" type="slidenum">
              <a:rPr lang="en-US" smtClean="0"/>
              <a:pPr/>
              <a:t>‹#›</a:t>
            </a:fld>
            <a:endParaRPr lang="en-US"/>
          </a:p>
        </p:txBody>
      </p:sp>
      <p:sp>
        <p:nvSpPr>
          <p:cNvPr id="24" name="Text Placeholder 32">
            <a:extLst>
              <a:ext uri="{FF2B5EF4-FFF2-40B4-BE49-F238E27FC236}">
                <a16:creationId xmlns:a16="http://schemas.microsoft.com/office/drawing/2014/main" id="{9AEAF736-86DB-05A9-16DE-AF5E4CED0167}"/>
              </a:ext>
            </a:extLst>
          </p:cNvPr>
          <p:cNvSpPr>
            <a:spLocks noGrp="1"/>
          </p:cNvSpPr>
          <p:nvPr>
            <p:ph type="body" sz="quarter" idx="13" hasCustomPrompt="1"/>
          </p:nvPr>
        </p:nvSpPr>
        <p:spPr>
          <a:xfrm>
            <a:off x="763623" y="260648"/>
            <a:ext cx="8229600" cy="457200"/>
          </a:xfrm>
        </p:spPr>
        <p:txBody>
          <a:bodyPr anchor="b"/>
          <a:lstStyle>
            <a:lvl1pPr marL="0" indent="0">
              <a:buNone/>
              <a:defRPr sz="2400">
                <a:solidFill>
                  <a:schemeClr val="accent3"/>
                </a:solidFill>
                <a:latin typeface="+mj-lt"/>
              </a:defRPr>
            </a:lvl1pPr>
          </a:lstStyle>
          <a:p>
            <a:pPr lvl="0"/>
            <a:r>
              <a:rPr lang="en-US"/>
              <a:t>Goal.</a:t>
            </a:r>
          </a:p>
        </p:txBody>
      </p:sp>
      <p:sp>
        <p:nvSpPr>
          <p:cNvPr id="26" name="Text Placeholder 32">
            <a:extLst>
              <a:ext uri="{FF2B5EF4-FFF2-40B4-BE49-F238E27FC236}">
                <a16:creationId xmlns:a16="http://schemas.microsoft.com/office/drawing/2014/main" id="{0F016BA2-2D81-B0F1-386D-2BDC8B2BB1C4}"/>
              </a:ext>
            </a:extLst>
          </p:cNvPr>
          <p:cNvSpPr>
            <a:spLocks noGrp="1"/>
          </p:cNvSpPr>
          <p:nvPr>
            <p:ph type="body" sz="quarter" idx="14" hasCustomPrompt="1"/>
          </p:nvPr>
        </p:nvSpPr>
        <p:spPr>
          <a:xfrm>
            <a:off x="763623" y="847564"/>
            <a:ext cx="8229600" cy="457200"/>
          </a:xfrm>
        </p:spPr>
        <p:txBody>
          <a:bodyPr anchor="t"/>
          <a:lstStyle>
            <a:lvl1pPr marL="0" indent="0">
              <a:spcBef>
                <a:spcPts val="0"/>
              </a:spcBef>
              <a:buNone/>
              <a:defRPr sz="3150">
                <a:solidFill>
                  <a:schemeClr val="bg1"/>
                </a:solidFill>
                <a:latin typeface="+mj-lt"/>
              </a:defRPr>
            </a:lvl1pPr>
          </a:lstStyle>
          <a:p>
            <a:pPr lvl="0"/>
            <a:r>
              <a:rPr lang="en-US"/>
              <a:t>Heading</a:t>
            </a:r>
          </a:p>
        </p:txBody>
      </p:sp>
      <p:sp>
        <p:nvSpPr>
          <p:cNvPr id="27" name="Text Placeholder 32">
            <a:extLst>
              <a:ext uri="{FF2B5EF4-FFF2-40B4-BE49-F238E27FC236}">
                <a16:creationId xmlns:a16="http://schemas.microsoft.com/office/drawing/2014/main" id="{373D34BD-55F1-C7EF-AD70-DFF025E4B0DF}"/>
              </a:ext>
            </a:extLst>
          </p:cNvPr>
          <p:cNvSpPr>
            <a:spLocks noGrp="1"/>
          </p:cNvSpPr>
          <p:nvPr>
            <p:ph type="body" sz="quarter" idx="15"/>
          </p:nvPr>
        </p:nvSpPr>
        <p:spPr>
          <a:xfrm>
            <a:off x="763624" y="3897052"/>
            <a:ext cx="5044343" cy="448821"/>
          </a:xfrm>
        </p:spPr>
        <p:txBody>
          <a:bodyPr anchor="b"/>
          <a:lstStyle>
            <a:lvl1pPr marL="0" indent="0">
              <a:spcBef>
                <a:spcPts val="0"/>
              </a:spcBef>
              <a:buNone/>
              <a:defRPr sz="2000" b="1">
                <a:solidFill>
                  <a:schemeClr val="accent1"/>
                </a:solidFill>
                <a:latin typeface="+mn-lt"/>
              </a:defRPr>
            </a:lvl1pPr>
          </a:lstStyle>
          <a:p>
            <a:pPr lvl="0"/>
            <a:endParaRPr lang="en-US"/>
          </a:p>
        </p:txBody>
      </p:sp>
      <p:sp>
        <p:nvSpPr>
          <p:cNvPr id="29" name="Text Placeholder 32">
            <a:extLst>
              <a:ext uri="{FF2B5EF4-FFF2-40B4-BE49-F238E27FC236}">
                <a16:creationId xmlns:a16="http://schemas.microsoft.com/office/drawing/2014/main" id="{7E6776FC-47CE-4CF7-9B0E-CEC18F15B950}"/>
              </a:ext>
            </a:extLst>
          </p:cNvPr>
          <p:cNvSpPr>
            <a:spLocks noGrp="1"/>
          </p:cNvSpPr>
          <p:nvPr>
            <p:ph type="body" sz="quarter" idx="17"/>
          </p:nvPr>
        </p:nvSpPr>
        <p:spPr>
          <a:xfrm>
            <a:off x="763623" y="1484784"/>
            <a:ext cx="4937760" cy="1986635"/>
          </a:xfrm>
        </p:spPr>
        <p:txBody>
          <a:bodyPr anchor="t"/>
          <a:lstStyle>
            <a:lvl1pPr marL="0" indent="0">
              <a:lnSpc>
                <a:spcPct val="125000"/>
              </a:lnSpc>
              <a:spcBef>
                <a:spcPts val="0"/>
              </a:spcBef>
              <a:buNone/>
              <a:defRPr sz="1800" b="0">
                <a:solidFill>
                  <a:schemeClr val="bg1"/>
                </a:solidFill>
                <a:latin typeface="+mn-lt"/>
              </a:defRPr>
            </a:lvl1pPr>
          </a:lstStyle>
          <a:p>
            <a:pPr lvl="0"/>
            <a:endParaRPr lang="en-US"/>
          </a:p>
        </p:txBody>
      </p:sp>
      <p:grpSp>
        <p:nvGrpSpPr>
          <p:cNvPr id="2" name="Group 1">
            <a:extLst>
              <a:ext uri="{FF2B5EF4-FFF2-40B4-BE49-F238E27FC236}">
                <a16:creationId xmlns:a16="http://schemas.microsoft.com/office/drawing/2014/main" id="{936E8B93-5A8A-D20D-D155-8E9D97AF224A}"/>
              </a:ext>
            </a:extLst>
          </p:cNvPr>
          <p:cNvGrpSpPr/>
          <p:nvPr userDrawn="1"/>
        </p:nvGrpSpPr>
        <p:grpSpPr>
          <a:xfrm>
            <a:off x="10768672" y="6279572"/>
            <a:ext cx="694340" cy="190186"/>
            <a:chOff x="10768672" y="6279572"/>
            <a:chExt cx="694340" cy="190186"/>
          </a:xfrm>
        </p:grpSpPr>
        <p:grpSp>
          <p:nvGrpSpPr>
            <p:cNvPr id="6" name="object 26">
              <a:extLst>
                <a:ext uri="{FF2B5EF4-FFF2-40B4-BE49-F238E27FC236}">
                  <a16:creationId xmlns:a16="http://schemas.microsoft.com/office/drawing/2014/main" id="{AEFAD2E3-6E60-4140-94FF-C57CAF504EBE}"/>
                </a:ext>
              </a:extLst>
            </p:cNvPr>
            <p:cNvGrpSpPr/>
            <p:nvPr/>
          </p:nvGrpSpPr>
          <p:grpSpPr>
            <a:xfrm>
              <a:off x="10768672" y="6279841"/>
              <a:ext cx="348802" cy="189801"/>
              <a:chOff x="17759098" y="10356815"/>
              <a:chExt cx="575310" cy="313055"/>
            </a:xfrm>
          </p:grpSpPr>
          <p:sp>
            <p:nvSpPr>
              <p:cNvPr id="8" name="object 27">
                <a:extLst>
                  <a:ext uri="{FF2B5EF4-FFF2-40B4-BE49-F238E27FC236}">
                    <a16:creationId xmlns:a16="http://schemas.microsoft.com/office/drawing/2014/main" id="{12923609-69B4-6F54-26A8-C33A62701E48}"/>
                  </a:ext>
                </a:extLst>
              </p:cNvPr>
              <p:cNvSpPr/>
              <p:nvPr/>
            </p:nvSpPr>
            <p:spPr>
              <a:xfrm>
                <a:off x="17759098" y="10361392"/>
                <a:ext cx="281940" cy="302895"/>
              </a:xfrm>
              <a:custGeom>
                <a:avLst/>
                <a:gdLst/>
                <a:ahLst/>
                <a:cxnLst/>
                <a:rect l="l" t="t" r="r" b="b"/>
                <a:pathLst>
                  <a:path w="281940" h="302895">
                    <a:moveTo>
                      <a:pt x="281478" y="0"/>
                    </a:moveTo>
                    <a:lnTo>
                      <a:pt x="202936" y="0"/>
                    </a:lnTo>
                    <a:lnTo>
                      <a:pt x="202936" y="174308"/>
                    </a:lnTo>
                    <a:lnTo>
                      <a:pt x="80364" y="0"/>
                    </a:lnTo>
                    <a:lnTo>
                      <a:pt x="0" y="0"/>
                    </a:lnTo>
                    <a:lnTo>
                      <a:pt x="0" y="302723"/>
                    </a:lnTo>
                    <a:lnTo>
                      <a:pt x="78049" y="302723"/>
                    </a:lnTo>
                    <a:lnTo>
                      <a:pt x="78049" y="119807"/>
                    </a:lnTo>
                    <a:lnTo>
                      <a:pt x="206129" y="302776"/>
                    </a:lnTo>
                    <a:lnTo>
                      <a:pt x="281478" y="302776"/>
                    </a:lnTo>
                    <a:lnTo>
                      <a:pt x="281478" y="0"/>
                    </a:lnTo>
                    <a:close/>
                  </a:path>
                </a:pathLst>
              </a:custGeom>
              <a:solidFill>
                <a:srgbClr val="FFFFFF"/>
              </a:solidFill>
            </p:spPr>
            <p:txBody>
              <a:bodyPr wrap="square" lIns="0" tIns="0" rIns="0" bIns="0" rtlCol="0"/>
              <a:lstStyle/>
              <a:p>
                <a:endParaRPr kern="0">
                  <a:solidFill>
                    <a:sysClr val="windowText" lastClr="000000"/>
                  </a:solidFill>
                </a:endParaRPr>
              </a:p>
            </p:txBody>
          </p:sp>
          <p:sp>
            <p:nvSpPr>
              <p:cNvPr id="9" name="object 28">
                <a:extLst>
                  <a:ext uri="{FF2B5EF4-FFF2-40B4-BE49-F238E27FC236}">
                    <a16:creationId xmlns:a16="http://schemas.microsoft.com/office/drawing/2014/main" id="{6AF9A3F9-EDB8-3575-7C8C-9CCC3C305165}"/>
                  </a:ext>
                </a:extLst>
              </p:cNvPr>
              <p:cNvSpPr/>
              <p:nvPr/>
            </p:nvSpPr>
            <p:spPr>
              <a:xfrm>
                <a:off x="18073618" y="10356815"/>
                <a:ext cx="260985" cy="313055"/>
              </a:xfrm>
              <a:custGeom>
                <a:avLst/>
                <a:gdLst/>
                <a:ahLst/>
                <a:cxnLst/>
                <a:rect l="l" t="t" r="r" b="b"/>
                <a:pathLst>
                  <a:path w="260984" h="313054">
                    <a:moveTo>
                      <a:pt x="130289" y="0"/>
                    </a:moveTo>
                    <a:lnTo>
                      <a:pt x="78682" y="7671"/>
                    </a:lnTo>
                    <a:lnTo>
                      <a:pt x="40822" y="28360"/>
                    </a:lnTo>
                    <a:lnTo>
                      <a:pt x="17523" y="58574"/>
                    </a:lnTo>
                    <a:lnTo>
                      <a:pt x="9601" y="94824"/>
                    </a:lnTo>
                    <a:lnTo>
                      <a:pt x="21302" y="138425"/>
                    </a:lnTo>
                    <a:lnTo>
                      <a:pt x="50787" y="165184"/>
                    </a:lnTo>
                    <a:lnTo>
                      <a:pt x="89631" y="180370"/>
                    </a:lnTo>
                    <a:lnTo>
                      <a:pt x="129409" y="189250"/>
                    </a:lnTo>
                    <a:lnTo>
                      <a:pt x="151085" y="194533"/>
                    </a:lnTo>
                    <a:lnTo>
                      <a:pt x="167360" y="200784"/>
                    </a:lnTo>
                    <a:lnTo>
                      <a:pt x="177593" y="208990"/>
                    </a:lnTo>
                    <a:lnTo>
                      <a:pt x="181146" y="220139"/>
                    </a:lnTo>
                    <a:lnTo>
                      <a:pt x="178169" y="230305"/>
                    </a:lnTo>
                    <a:lnTo>
                      <a:pt x="169613" y="238518"/>
                    </a:lnTo>
                    <a:lnTo>
                      <a:pt x="156042" y="244011"/>
                    </a:lnTo>
                    <a:lnTo>
                      <a:pt x="138016" y="246013"/>
                    </a:lnTo>
                    <a:lnTo>
                      <a:pt x="108540" y="242837"/>
                    </a:lnTo>
                    <a:lnTo>
                      <a:pt x="82344" y="234216"/>
                    </a:lnTo>
                    <a:lnTo>
                      <a:pt x="59809" y="221510"/>
                    </a:lnTo>
                    <a:lnTo>
                      <a:pt x="41318" y="206025"/>
                    </a:lnTo>
                    <a:lnTo>
                      <a:pt x="0" y="264599"/>
                    </a:lnTo>
                    <a:lnTo>
                      <a:pt x="25223" y="284356"/>
                    </a:lnTo>
                    <a:lnTo>
                      <a:pt x="55622" y="299531"/>
                    </a:lnTo>
                    <a:lnTo>
                      <a:pt x="91803" y="309266"/>
                    </a:lnTo>
                    <a:lnTo>
                      <a:pt x="134372" y="312702"/>
                    </a:lnTo>
                    <a:lnTo>
                      <a:pt x="188371" y="305443"/>
                    </a:lnTo>
                    <a:lnTo>
                      <a:pt x="227945" y="284908"/>
                    </a:lnTo>
                    <a:lnTo>
                      <a:pt x="252285" y="252965"/>
                    </a:lnTo>
                    <a:lnTo>
                      <a:pt x="260578" y="211480"/>
                    </a:lnTo>
                    <a:lnTo>
                      <a:pt x="249016" y="169435"/>
                    </a:lnTo>
                    <a:lnTo>
                      <a:pt x="219837" y="142952"/>
                    </a:lnTo>
                    <a:lnTo>
                      <a:pt x="181299" y="127359"/>
                    </a:lnTo>
                    <a:lnTo>
                      <a:pt x="141660" y="117985"/>
                    </a:lnTo>
                    <a:lnTo>
                      <a:pt x="119330" y="113216"/>
                    </a:lnTo>
                    <a:lnTo>
                      <a:pt x="102966" y="107720"/>
                    </a:lnTo>
                    <a:lnTo>
                      <a:pt x="92902" y="100435"/>
                    </a:lnTo>
                    <a:lnTo>
                      <a:pt x="89473" y="90300"/>
                    </a:lnTo>
                    <a:lnTo>
                      <a:pt x="91313" y="81050"/>
                    </a:lnTo>
                    <a:lnTo>
                      <a:pt x="97367" y="73551"/>
                    </a:lnTo>
                    <a:lnTo>
                      <a:pt x="108437" y="68524"/>
                    </a:lnTo>
                    <a:lnTo>
                      <a:pt x="125326" y="66689"/>
                    </a:lnTo>
                    <a:lnTo>
                      <a:pt x="146369" y="68645"/>
                    </a:lnTo>
                    <a:lnTo>
                      <a:pt x="168489" y="74516"/>
                    </a:lnTo>
                    <a:lnTo>
                      <a:pt x="190362" y="84305"/>
                    </a:lnTo>
                    <a:lnTo>
                      <a:pt x="210663" y="98017"/>
                    </a:lnTo>
                    <a:lnTo>
                      <a:pt x="253301" y="42197"/>
                    </a:lnTo>
                    <a:lnTo>
                      <a:pt x="227314" y="23920"/>
                    </a:lnTo>
                    <a:lnTo>
                      <a:pt x="197916" y="10713"/>
                    </a:lnTo>
                    <a:lnTo>
                      <a:pt x="165458" y="2698"/>
                    </a:lnTo>
                    <a:lnTo>
                      <a:pt x="130289" y="0"/>
                    </a:lnTo>
                    <a:close/>
                  </a:path>
                </a:pathLst>
              </a:custGeom>
              <a:solidFill>
                <a:srgbClr val="00BFFF"/>
              </a:solidFill>
            </p:spPr>
            <p:txBody>
              <a:bodyPr wrap="square" lIns="0" tIns="0" rIns="0" bIns="0" rtlCol="0"/>
              <a:lstStyle/>
              <a:p>
                <a:endParaRPr kern="0">
                  <a:solidFill>
                    <a:sysClr val="windowText" lastClr="000000"/>
                  </a:solidFill>
                </a:endParaRPr>
              </a:p>
            </p:txBody>
          </p:sp>
        </p:grpSp>
        <p:sp>
          <p:nvSpPr>
            <p:cNvPr id="7" name="object 29">
              <a:extLst>
                <a:ext uri="{FF2B5EF4-FFF2-40B4-BE49-F238E27FC236}">
                  <a16:creationId xmlns:a16="http://schemas.microsoft.com/office/drawing/2014/main" id="{C3DA1162-7DF4-53B1-24FF-D011A12F0F5A}"/>
                </a:ext>
              </a:extLst>
            </p:cNvPr>
            <p:cNvSpPr/>
            <p:nvPr/>
          </p:nvSpPr>
          <p:spPr>
            <a:xfrm>
              <a:off x="11126915" y="6279572"/>
              <a:ext cx="336097" cy="190186"/>
            </a:xfrm>
            <a:custGeom>
              <a:avLst/>
              <a:gdLst/>
              <a:ahLst/>
              <a:cxnLst/>
              <a:rect l="l" t="t" r="r" b="b"/>
              <a:pathLst>
                <a:path w="554355" h="313690">
                  <a:moveTo>
                    <a:pt x="247383" y="4508"/>
                  </a:moveTo>
                  <a:lnTo>
                    <a:pt x="0" y="4508"/>
                  </a:lnTo>
                  <a:lnTo>
                    <a:pt x="0" y="73088"/>
                  </a:lnTo>
                  <a:lnTo>
                    <a:pt x="84886" y="73088"/>
                  </a:lnTo>
                  <a:lnTo>
                    <a:pt x="84886" y="308038"/>
                  </a:lnTo>
                  <a:lnTo>
                    <a:pt x="162928" y="308038"/>
                  </a:lnTo>
                  <a:lnTo>
                    <a:pt x="162928" y="73088"/>
                  </a:lnTo>
                  <a:lnTo>
                    <a:pt x="247383" y="73088"/>
                  </a:lnTo>
                  <a:lnTo>
                    <a:pt x="247383" y="4508"/>
                  </a:lnTo>
                  <a:close/>
                </a:path>
                <a:path w="554355" h="313690">
                  <a:moveTo>
                    <a:pt x="554139" y="81254"/>
                  </a:moveTo>
                  <a:lnTo>
                    <a:pt x="535305" y="51714"/>
                  </a:lnTo>
                  <a:lnTo>
                    <a:pt x="507720" y="25654"/>
                  </a:lnTo>
                  <a:lnTo>
                    <a:pt x="469734" y="7086"/>
                  </a:lnTo>
                  <a:lnTo>
                    <a:pt x="419760" y="0"/>
                  </a:lnTo>
                  <a:lnTo>
                    <a:pt x="368109" y="7315"/>
                  </a:lnTo>
                  <a:lnTo>
                    <a:pt x="323684" y="28206"/>
                  </a:lnTo>
                  <a:lnTo>
                    <a:pt x="288937" y="61087"/>
                  </a:lnTo>
                  <a:lnTo>
                    <a:pt x="266293" y="104419"/>
                  </a:lnTo>
                  <a:lnTo>
                    <a:pt x="258191" y="156603"/>
                  </a:lnTo>
                  <a:lnTo>
                    <a:pt x="266280" y="208622"/>
                  </a:lnTo>
                  <a:lnTo>
                    <a:pt x="288912" y="251929"/>
                  </a:lnTo>
                  <a:lnTo>
                    <a:pt x="323672" y="284886"/>
                  </a:lnTo>
                  <a:lnTo>
                    <a:pt x="368096" y="305854"/>
                  </a:lnTo>
                  <a:lnTo>
                    <a:pt x="419760" y="313207"/>
                  </a:lnTo>
                  <a:lnTo>
                    <a:pt x="469798" y="306006"/>
                  </a:lnTo>
                  <a:lnTo>
                    <a:pt x="507885" y="287223"/>
                  </a:lnTo>
                  <a:lnTo>
                    <a:pt x="535495" y="261124"/>
                  </a:lnTo>
                  <a:lnTo>
                    <a:pt x="554139" y="231952"/>
                  </a:lnTo>
                  <a:lnTo>
                    <a:pt x="486943" y="200190"/>
                  </a:lnTo>
                  <a:lnTo>
                    <a:pt x="476643" y="217208"/>
                  </a:lnTo>
                  <a:lnTo>
                    <a:pt x="461352" y="231216"/>
                  </a:lnTo>
                  <a:lnTo>
                    <a:pt x="442074" y="240703"/>
                  </a:lnTo>
                  <a:lnTo>
                    <a:pt x="419760" y="244208"/>
                  </a:lnTo>
                  <a:lnTo>
                    <a:pt x="387032" y="237477"/>
                  </a:lnTo>
                  <a:lnTo>
                    <a:pt x="361010" y="218960"/>
                  </a:lnTo>
                  <a:lnTo>
                    <a:pt x="343827" y="191160"/>
                  </a:lnTo>
                  <a:lnTo>
                    <a:pt x="337629" y="156603"/>
                  </a:lnTo>
                  <a:lnTo>
                    <a:pt x="343827" y="122047"/>
                  </a:lnTo>
                  <a:lnTo>
                    <a:pt x="360984" y="94246"/>
                  </a:lnTo>
                  <a:lnTo>
                    <a:pt x="387007" y="75730"/>
                  </a:lnTo>
                  <a:lnTo>
                    <a:pt x="419760" y="69011"/>
                  </a:lnTo>
                  <a:lnTo>
                    <a:pt x="442074" y="72504"/>
                  </a:lnTo>
                  <a:lnTo>
                    <a:pt x="461352" y="81991"/>
                  </a:lnTo>
                  <a:lnTo>
                    <a:pt x="476643" y="95999"/>
                  </a:lnTo>
                  <a:lnTo>
                    <a:pt x="486943" y="113030"/>
                  </a:lnTo>
                  <a:lnTo>
                    <a:pt x="554139" y="81254"/>
                  </a:lnTo>
                  <a:close/>
                </a:path>
              </a:pathLst>
            </a:custGeom>
            <a:solidFill>
              <a:srgbClr val="FFFFFF"/>
            </a:solidFill>
          </p:spPr>
          <p:txBody>
            <a:bodyPr wrap="square" lIns="0" tIns="0" rIns="0" bIns="0" rtlCol="0"/>
            <a:lstStyle/>
            <a:p>
              <a:endParaRPr kern="0">
                <a:solidFill>
                  <a:sysClr val="windowText" lastClr="000000"/>
                </a:solidFill>
              </a:endParaRPr>
            </a:p>
          </p:txBody>
        </p:sp>
      </p:grpSp>
      <p:sp>
        <p:nvSpPr>
          <p:cNvPr id="14" name="object 7">
            <a:extLst>
              <a:ext uri="{FF2B5EF4-FFF2-40B4-BE49-F238E27FC236}">
                <a16:creationId xmlns:a16="http://schemas.microsoft.com/office/drawing/2014/main" id="{8F1D65B5-6294-EC93-FCFF-437DC14D2553}"/>
              </a:ext>
            </a:extLst>
          </p:cNvPr>
          <p:cNvSpPr/>
          <p:nvPr userDrawn="1"/>
        </p:nvSpPr>
        <p:spPr>
          <a:xfrm>
            <a:off x="-1" y="3610598"/>
            <a:ext cx="6037434" cy="3247402"/>
          </a:xfrm>
          <a:custGeom>
            <a:avLst/>
            <a:gdLst/>
            <a:ahLst/>
            <a:cxnLst/>
            <a:rect l="l" t="t" r="r" b="b"/>
            <a:pathLst>
              <a:path w="9958070" h="5356225">
                <a:moveTo>
                  <a:pt x="9957811" y="5355857"/>
                </a:moveTo>
                <a:lnTo>
                  <a:pt x="9957811" y="0"/>
                </a:lnTo>
                <a:lnTo>
                  <a:pt x="0" y="0"/>
                </a:lnTo>
                <a:lnTo>
                  <a:pt x="0" y="5355857"/>
                </a:lnTo>
                <a:lnTo>
                  <a:pt x="9957811" y="5355857"/>
                </a:lnTo>
                <a:close/>
              </a:path>
            </a:pathLst>
          </a:custGeom>
          <a:solidFill>
            <a:schemeClr val="accent3">
              <a:alpha val="94999"/>
            </a:schemeClr>
          </a:solidFill>
        </p:spPr>
        <p:txBody>
          <a:bodyPr wrap="square" lIns="0" tIns="0" rIns="0" bIns="0" rtlCol="0"/>
          <a:lstStyle/>
          <a:p>
            <a:endParaRPr/>
          </a:p>
        </p:txBody>
      </p:sp>
    </p:spTree>
    <p:extLst>
      <p:ext uri="{BB962C8B-B14F-4D97-AF65-F5344CB8AC3E}">
        <p14:creationId xmlns:p14="http://schemas.microsoft.com/office/powerpoint/2010/main" val="11738939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Goal Gray">
    <p:bg>
      <p:bgPr>
        <a:solidFill>
          <a:schemeClr val="accent1"/>
        </a:solidFill>
        <a:effectLst/>
      </p:bgPr>
    </p:bg>
    <p:spTree>
      <p:nvGrpSpPr>
        <p:cNvPr id="1" name=""/>
        <p:cNvGrpSpPr/>
        <p:nvPr/>
      </p:nvGrpSpPr>
      <p:grpSpPr>
        <a:xfrm>
          <a:off x="0" y="0"/>
          <a:ext cx="0" cy="0"/>
          <a:chOff x="0" y="0"/>
          <a:chExt cx="0" cy="0"/>
        </a:xfrm>
      </p:grpSpPr>
      <p:pic>
        <p:nvPicPr>
          <p:cNvPr id="10" name="Picture 9" descr="A close-up of a computer chip&#10;&#10;Description automatically generated">
            <a:extLst>
              <a:ext uri="{FF2B5EF4-FFF2-40B4-BE49-F238E27FC236}">
                <a16:creationId xmlns:a16="http://schemas.microsoft.com/office/drawing/2014/main" id="{EF95274C-BC2F-7C12-F7ED-C978A08BC683}"/>
              </a:ext>
            </a:extLst>
          </p:cNvPr>
          <p:cNvPicPr>
            <a:picLocks noChangeAspect="1"/>
          </p:cNvPicPr>
          <p:nvPr userDrawn="1"/>
        </p:nvPicPr>
        <p:blipFill>
          <a:blip r:embed="rId2">
            <a:alphaModFix amt="35000"/>
            <a:extLst>
              <a:ext uri="{BEBA8EAE-BF5A-486C-A8C5-ECC9F3942E4B}">
                <a14:imgProps xmlns:a14="http://schemas.microsoft.com/office/drawing/2010/main">
                  <a14:imgLayer r:embed="rId3">
                    <a14:imgEffect>
                      <a14:brightnessContrast bright="-8000"/>
                    </a14:imgEffect>
                  </a14:imgLayer>
                </a14:imgProps>
              </a:ext>
              <a:ext uri="{28A0092B-C50C-407E-A947-70E740481C1C}">
                <a14:useLocalDpi xmlns:a14="http://schemas.microsoft.com/office/drawing/2010/main" val="0"/>
              </a:ext>
            </a:extLst>
          </a:blip>
          <a:srcRect l="4344" t="5917" r="3550" b="-446"/>
          <a:stretch/>
        </p:blipFill>
        <p:spPr>
          <a:xfrm>
            <a:off x="312657" y="0"/>
            <a:ext cx="11879344" cy="6856213"/>
          </a:xfrm>
          <a:prstGeom prst="rect">
            <a:avLst/>
          </a:prstGeom>
        </p:spPr>
      </p:pic>
      <p:sp>
        <p:nvSpPr>
          <p:cNvPr id="3" name="Date Placeholder 2">
            <a:extLst>
              <a:ext uri="{FF2B5EF4-FFF2-40B4-BE49-F238E27FC236}">
                <a16:creationId xmlns:a16="http://schemas.microsoft.com/office/drawing/2014/main" id="{E55CDA05-569A-6EBA-D765-5EB024851ABA}"/>
              </a:ext>
            </a:extLst>
          </p:cNvPr>
          <p:cNvSpPr>
            <a:spLocks noGrp="1"/>
          </p:cNvSpPr>
          <p:nvPr>
            <p:ph type="dt" sz="half" idx="10"/>
          </p:nvPr>
        </p:nvSpPr>
        <p:spPr/>
        <p:txBody>
          <a:bodyPr/>
          <a:lstStyle/>
          <a:p>
            <a:fld id="{9A5D80D6-DF3C-4908-938F-A45E5DC17A7C}" type="datetime1">
              <a:rPr lang="en-US" smtClean="0"/>
              <a:t>4/2/2025</a:t>
            </a:fld>
            <a:endParaRPr lang="en-US"/>
          </a:p>
        </p:txBody>
      </p:sp>
      <p:sp>
        <p:nvSpPr>
          <p:cNvPr id="4" name="Footer Placeholder 3">
            <a:extLst>
              <a:ext uri="{FF2B5EF4-FFF2-40B4-BE49-F238E27FC236}">
                <a16:creationId xmlns:a16="http://schemas.microsoft.com/office/drawing/2014/main" id="{848FA293-53F9-C37F-ACE7-61D7FAEC68E6}"/>
              </a:ext>
            </a:extLst>
          </p:cNvPr>
          <p:cNvSpPr>
            <a:spLocks noGrp="1"/>
          </p:cNvSpPr>
          <p:nvPr>
            <p:ph type="ftr" sz="quarter" idx="11"/>
          </p:nvPr>
        </p:nvSpPr>
        <p:spPr/>
        <p:txBody>
          <a:bodyPr/>
          <a:lstStyle/>
          <a:p>
            <a:endParaRPr lang="en-US"/>
          </a:p>
        </p:txBody>
      </p:sp>
      <p:sp>
        <p:nvSpPr>
          <p:cNvPr id="14" name="object 7">
            <a:extLst>
              <a:ext uri="{FF2B5EF4-FFF2-40B4-BE49-F238E27FC236}">
                <a16:creationId xmlns:a16="http://schemas.microsoft.com/office/drawing/2014/main" id="{8F1D65B5-6294-EC93-FCFF-437DC14D2553}"/>
              </a:ext>
            </a:extLst>
          </p:cNvPr>
          <p:cNvSpPr/>
          <p:nvPr userDrawn="1"/>
        </p:nvSpPr>
        <p:spPr>
          <a:xfrm>
            <a:off x="-1" y="3610598"/>
            <a:ext cx="6037434" cy="3247402"/>
          </a:xfrm>
          <a:custGeom>
            <a:avLst/>
            <a:gdLst/>
            <a:ahLst/>
            <a:cxnLst/>
            <a:rect l="l" t="t" r="r" b="b"/>
            <a:pathLst>
              <a:path w="9958070" h="5356225">
                <a:moveTo>
                  <a:pt x="9957811" y="5355857"/>
                </a:moveTo>
                <a:lnTo>
                  <a:pt x="9957811" y="0"/>
                </a:lnTo>
                <a:lnTo>
                  <a:pt x="0" y="0"/>
                </a:lnTo>
                <a:lnTo>
                  <a:pt x="0" y="5355857"/>
                </a:lnTo>
                <a:lnTo>
                  <a:pt x="9957811" y="5355857"/>
                </a:lnTo>
                <a:close/>
              </a:path>
            </a:pathLst>
          </a:custGeom>
          <a:solidFill>
            <a:schemeClr val="accent2">
              <a:alpha val="94999"/>
            </a:schemeClr>
          </a:solidFill>
        </p:spPr>
        <p:txBody>
          <a:bodyPr wrap="square" lIns="0" tIns="0" rIns="0" bIns="0" rtlCol="0"/>
          <a:lstStyle/>
          <a:p>
            <a:endParaRPr/>
          </a:p>
        </p:txBody>
      </p:sp>
      <p:sp>
        <p:nvSpPr>
          <p:cNvPr id="18" name="object 20">
            <a:extLst>
              <a:ext uri="{FF2B5EF4-FFF2-40B4-BE49-F238E27FC236}">
                <a16:creationId xmlns:a16="http://schemas.microsoft.com/office/drawing/2014/main" id="{2A1F6A7A-A329-634A-D133-60BEFAF665F6}"/>
              </a:ext>
            </a:extLst>
          </p:cNvPr>
          <p:cNvSpPr/>
          <p:nvPr userDrawn="1"/>
        </p:nvSpPr>
        <p:spPr>
          <a:xfrm>
            <a:off x="730059" y="652"/>
            <a:ext cx="968253" cy="152457"/>
          </a:xfrm>
          <a:custGeom>
            <a:avLst/>
            <a:gdLst/>
            <a:ahLst/>
            <a:cxnLst/>
            <a:rect l="l" t="t" r="r" b="b"/>
            <a:pathLst>
              <a:path w="1597025" h="251460">
                <a:moveTo>
                  <a:pt x="1596810" y="0"/>
                </a:moveTo>
                <a:lnTo>
                  <a:pt x="0" y="0"/>
                </a:lnTo>
                <a:lnTo>
                  <a:pt x="0" y="251301"/>
                </a:lnTo>
                <a:lnTo>
                  <a:pt x="1596810" y="251301"/>
                </a:lnTo>
                <a:lnTo>
                  <a:pt x="1596810" y="0"/>
                </a:lnTo>
                <a:close/>
              </a:path>
            </a:pathLst>
          </a:custGeom>
          <a:solidFill>
            <a:schemeClr val="accent2"/>
          </a:solidFill>
        </p:spPr>
        <p:txBody>
          <a:bodyPr wrap="square" lIns="0" tIns="0" rIns="0" bIns="0" rtlCol="0"/>
          <a:lstStyle/>
          <a:p>
            <a:endParaRPr/>
          </a:p>
        </p:txBody>
      </p:sp>
      <p:sp>
        <p:nvSpPr>
          <p:cNvPr id="25" name="Slide Number Box">
            <a:extLst>
              <a:ext uri="{FF2B5EF4-FFF2-40B4-BE49-F238E27FC236}">
                <a16:creationId xmlns:a16="http://schemas.microsoft.com/office/drawing/2014/main" id="{E09E9657-6864-4EF7-5B2D-CC7D45433A23}"/>
              </a:ext>
            </a:extLst>
          </p:cNvPr>
          <p:cNvSpPr txBox="1"/>
          <p:nvPr userDrawn="1"/>
        </p:nvSpPr>
        <p:spPr>
          <a:xfrm>
            <a:off x="11566535" y="6234575"/>
            <a:ext cx="279503" cy="283464"/>
          </a:xfrm>
          <a:prstGeom prst="rect">
            <a:avLst/>
          </a:prstGeom>
          <a:solidFill>
            <a:srgbClr val="FFD700"/>
          </a:solidFill>
        </p:spPr>
        <p:txBody>
          <a:bodyPr vert="horz" wrap="square" lIns="0" tIns="38884" rIns="0" bIns="0" rtlCol="0">
            <a:spAutoFit/>
          </a:bodyPr>
          <a:lstStyle/>
          <a:p>
            <a:pPr marL="55825" algn="ctr">
              <a:spcBef>
                <a:spcPts val="306"/>
              </a:spcBef>
            </a:pPr>
            <a:endParaRPr sz="1182">
              <a:latin typeface="Real Head Pro"/>
              <a:cs typeface="Real Head Pro"/>
            </a:endParaRPr>
          </a:p>
        </p:txBody>
      </p:sp>
      <p:sp>
        <p:nvSpPr>
          <p:cNvPr id="5" name="Slide Number Placeholder 4">
            <a:extLst>
              <a:ext uri="{FF2B5EF4-FFF2-40B4-BE49-F238E27FC236}">
                <a16:creationId xmlns:a16="http://schemas.microsoft.com/office/drawing/2014/main" id="{56863585-6F80-51FC-FAE2-A476E166644D}"/>
              </a:ext>
            </a:extLst>
          </p:cNvPr>
          <p:cNvSpPr>
            <a:spLocks noGrp="1"/>
          </p:cNvSpPr>
          <p:nvPr>
            <p:ph type="sldNum" sz="quarter" idx="12"/>
          </p:nvPr>
        </p:nvSpPr>
        <p:spPr/>
        <p:txBody>
          <a:bodyPr/>
          <a:lstStyle/>
          <a:p>
            <a:fld id="{FF7D9A68-EC15-4B1F-850C-8A6CCAFA90D8}" type="slidenum">
              <a:rPr lang="en-US" smtClean="0"/>
              <a:pPr/>
              <a:t>‹#›</a:t>
            </a:fld>
            <a:endParaRPr lang="en-US"/>
          </a:p>
        </p:txBody>
      </p:sp>
      <p:sp>
        <p:nvSpPr>
          <p:cNvPr id="24" name="Text Placeholder 32">
            <a:extLst>
              <a:ext uri="{FF2B5EF4-FFF2-40B4-BE49-F238E27FC236}">
                <a16:creationId xmlns:a16="http://schemas.microsoft.com/office/drawing/2014/main" id="{9AEAF736-86DB-05A9-16DE-AF5E4CED0167}"/>
              </a:ext>
            </a:extLst>
          </p:cNvPr>
          <p:cNvSpPr>
            <a:spLocks noGrp="1"/>
          </p:cNvSpPr>
          <p:nvPr>
            <p:ph type="body" sz="quarter" idx="13" hasCustomPrompt="1"/>
          </p:nvPr>
        </p:nvSpPr>
        <p:spPr>
          <a:xfrm>
            <a:off x="763623" y="260648"/>
            <a:ext cx="8229600" cy="457200"/>
          </a:xfrm>
        </p:spPr>
        <p:txBody>
          <a:bodyPr anchor="b"/>
          <a:lstStyle>
            <a:lvl1pPr marL="0" indent="0">
              <a:buNone/>
              <a:defRPr sz="2400">
                <a:solidFill>
                  <a:schemeClr val="accent2"/>
                </a:solidFill>
                <a:latin typeface="+mj-lt"/>
              </a:defRPr>
            </a:lvl1pPr>
          </a:lstStyle>
          <a:p>
            <a:pPr lvl="0"/>
            <a:r>
              <a:rPr lang="en-US"/>
              <a:t>Goal.</a:t>
            </a:r>
          </a:p>
        </p:txBody>
      </p:sp>
      <p:sp>
        <p:nvSpPr>
          <p:cNvPr id="26" name="Text Placeholder 32">
            <a:extLst>
              <a:ext uri="{FF2B5EF4-FFF2-40B4-BE49-F238E27FC236}">
                <a16:creationId xmlns:a16="http://schemas.microsoft.com/office/drawing/2014/main" id="{0F016BA2-2D81-B0F1-386D-2BDC8B2BB1C4}"/>
              </a:ext>
            </a:extLst>
          </p:cNvPr>
          <p:cNvSpPr>
            <a:spLocks noGrp="1"/>
          </p:cNvSpPr>
          <p:nvPr>
            <p:ph type="body" sz="quarter" idx="14" hasCustomPrompt="1"/>
          </p:nvPr>
        </p:nvSpPr>
        <p:spPr>
          <a:xfrm>
            <a:off x="763623" y="847564"/>
            <a:ext cx="8229600" cy="457200"/>
          </a:xfrm>
        </p:spPr>
        <p:txBody>
          <a:bodyPr anchor="t"/>
          <a:lstStyle>
            <a:lvl1pPr marL="0" indent="0">
              <a:spcBef>
                <a:spcPts val="0"/>
              </a:spcBef>
              <a:buNone/>
              <a:defRPr sz="3150">
                <a:solidFill>
                  <a:schemeClr val="bg1"/>
                </a:solidFill>
                <a:latin typeface="+mj-lt"/>
              </a:defRPr>
            </a:lvl1pPr>
          </a:lstStyle>
          <a:p>
            <a:pPr lvl="0"/>
            <a:r>
              <a:rPr lang="en-US"/>
              <a:t>Heading</a:t>
            </a:r>
          </a:p>
        </p:txBody>
      </p:sp>
      <p:sp>
        <p:nvSpPr>
          <p:cNvPr id="27" name="Text Placeholder 32">
            <a:extLst>
              <a:ext uri="{FF2B5EF4-FFF2-40B4-BE49-F238E27FC236}">
                <a16:creationId xmlns:a16="http://schemas.microsoft.com/office/drawing/2014/main" id="{373D34BD-55F1-C7EF-AD70-DFF025E4B0DF}"/>
              </a:ext>
            </a:extLst>
          </p:cNvPr>
          <p:cNvSpPr>
            <a:spLocks noGrp="1"/>
          </p:cNvSpPr>
          <p:nvPr>
            <p:ph type="body" sz="quarter" idx="15"/>
          </p:nvPr>
        </p:nvSpPr>
        <p:spPr>
          <a:xfrm>
            <a:off x="763624" y="3897052"/>
            <a:ext cx="5044343" cy="448821"/>
          </a:xfrm>
        </p:spPr>
        <p:txBody>
          <a:bodyPr anchor="b"/>
          <a:lstStyle>
            <a:lvl1pPr marL="0" indent="0">
              <a:spcBef>
                <a:spcPts val="0"/>
              </a:spcBef>
              <a:buNone/>
              <a:defRPr sz="2000" b="1">
                <a:solidFill>
                  <a:schemeClr val="accent1"/>
                </a:solidFill>
                <a:latin typeface="+mn-lt"/>
              </a:defRPr>
            </a:lvl1pPr>
          </a:lstStyle>
          <a:p>
            <a:pPr lvl="0"/>
            <a:endParaRPr lang="en-US"/>
          </a:p>
        </p:txBody>
      </p:sp>
      <p:sp>
        <p:nvSpPr>
          <p:cNvPr id="29" name="Text Placeholder 32">
            <a:extLst>
              <a:ext uri="{FF2B5EF4-FFF2-40B4-BE49-F238E27FC236}">
                <a16:creationId xmlns:a16="http://schemas.microsoft.com/office/drawing/2014/main" id="{7E6776FC-47CE-4CF7-9B0E-CEC18F15B950}"/>
              </a:ext>
            </a:extLst>
          </p:cNvPr>
          <p:cNvSpPr>
            <a:spLocks noGrp="1"/>
          </p:cNvSpPr>
          <p:nvPr>
            <p:ph type="body" sz="quarter" idx="17"/>
          </p:nvPr>
        </p:nvSpPr>
        <p:spPr>
          <a:xfrm>
            <a:off x="763623" y="1484784"/>
            <a:ext cx="4937760" cy="1986635"/>
          </a:xfrm>
        </p:spPr>
        <p:txBody>
          <a:bodyPr anchor="t"/>
          <a:lstStyle>
            <a:lvl1pPr marL="0" indent="0">
              <a:lnSpc>
                <a:spcPct val="125000"/>
              </a:lnSpc>
              <a:spcBef>
                <a:spcPts val="0"/>
              </a:spcBef>
              <a:buNone/>
              <a:defRPr sz="1800" b="0">
                <a:solidFill>
                  <a:schemeClr val="bg1"/>
                </a:solidFill>
                <a:latin typeface="+mn-lt"/>
              </a:defRPr>
            </a:lvl1pPr>
          </a:lstStyle>
          <a:p>
            <a:pPr lvl="0"/>
            <a:endParaRPr lang="en-US"/>
          </a:p>
        </p:txBody>
      </p:sp>
      <p:grpSp>
        <p:nvGrpSpPr>
          <p:cNvPr id="2" name="Group 1">
            <a:extLst>
              <a:ext uri="{FF2B5EF4-FFF2-40B4-BE49-F238E27FC236}">
                <a16:creationId xmlns:a16="http://schemas.microsoft.com/office/drawing/2014/main" id="{CD53A0C2-4F6E-9D1B-B9DB-A485D9E6BDBB}"/>
              </a:ext>
            </a:extLst>
          </p:cNvPr>
          <p:cNvGrpSpPr/>
          <p:nvPr userDrawn="1"/>
        </p:nvGrpSpPr>
        <p:grpSpPr>
          <a:xfrm>
            <a:off x="10768672" y="6279572"/>
            <a:ext cx="694340" cy="190186"/>
            <a:chOff x="10768672" y="6279572"/>
            <a:chExt cx="694340" cy="190186"/>
          </a:xfrm>
        </p:grpSpPr>
        <p:grpSp>
          <p:nvGrpSpPr>
            <p:cNvPr id="6" name="object 26">
              <a:extLst>
                <a:ext uri="{FF2B5EF4-FFF2-40B4-BE49-F238E27FC236}">
                  <a16:creationId xmlns:a16="http://schemas.microsoft.com/office/drawing/2014/main" id="{2E207D97-11B6-EF14-2580-4874DD47A1A8}"/>
                </a:ext>
              </a:extLst>
            </p:cNvPr>
            <p:cNvGrpSpPr/>
            <p:nvPr/>
          </p:nvGrpSpPr>
          <p:grpSpPr>
            <a:xfrm>
              <a:off x="10768672" y="6279841"/>
              <a:ext cx="348802" cy="189801"/>
              <a:chOff x="17759098" y="10356815"/>
              <a:chExt cx="575310" cy="313055"/>
            </a:xfrm>
          </p:grpSpPr>
          <p:sp>
            <p:nvSpPr>
              <p:cNvPr id="8" name="object 27">
                <a:extLst>
                  <a:ext uri="{FF2B5EF4-FFF2-40B4-BE49-F238E27FC236}">
                    <a16:creationId xmlns:a16="http://schemas.microsoft.com/office/drawing/2014/main" id="{E0555782-7182-18CE-D4FA-C5ACFD39C636}"/>
                  </a:ext>
                </a:extLst>
              </p:cNvPr>
              <p:cNvSpPr/>
              <p:nvPr/>
            </p:nvSpPr>
            <p:spPr>
              <a:xfrm>
                <a:off x="17759098" y="10361392"/>
                <a:ext cx="281940" cy="302895"/>
              </a:xfrm>
              <a:custGeom>
                <a:avLst/>
                <a:gdLst/>
                <a:ahLst/>
                <a:cxnLst/>
                <a:rect l="l" t="t" r="r" b="b"/>
                <a:pathLst>
                  <a:path w="281940" h="302895">
                    <a:moveTo>
                      <a:pt x="281478" y="0"/>
                    </a:moveTo>
                    <a:lnTo>
                      <a:pt x="202936" y="0"/>
                    </a:lnTo>
                    <a:lnTo>
                      <a:pt x="202936" y="174308"/>
                    </a:lnTo>
                    <a:lnTo>
                      <a:pt x="80364" y="0"/>
                    </a:lnTo>
                    <a:lnTo>
                      <a:pt x="0" y="0"/>
                    </a:lnTo>
                    <a:lnTo>
                      <a:pt x="0" y="302723"/>
                    </a:lnTo>
                    <a:lnTo>
                      <a:pt x="78049" y="302723"/>
                    </a:lnTo>
                    <a:lnTo>
                      <a:pt x="78049" y="119807"/>
                    </a:lnTo>
                    <a:lnTo>
                      <a:pt x="206129" y="302776"/>
                    </a:lnTo>
                    <a:lnTo>
                      <a:pt x="281478" y="302776"/>
                    </a:lnTo>
                    <a:lnTo>
                      <a:pt x="281478" y="0"/>
                    </a:lnTo>
                    <a:close/>
                  </a:path>
                </a:pathLst>
              </a:custGeom>
              <a:solidFill>
                <a:srgbClr val="FFFFFF"/>
              </a:solidFill>
            </p:spPr>
            <p:txBody>
              <a:bodyPr wrap="square" lIns="0" tIns="0" rIns="0" bIns="0" rtlCol="0"/>
              <a:lstStyle/>
              <a:p>
                <a:endParaRPr kern="0">
                  <a:solidFill>
                    <a:sysClr val="windowText" lastClr="000000"/>
                  </a:solidFill>
                </a:endParaRPr>
              </a:p>
            </p:txBody>
          </p:sp>
          <p:sp>
            <p:nvSpPr>
              <p:cNvPr id="9" name="object 28">
                <a:extLst>
                  <a:ext uri="{FF2B5EF4-FFF2-40B4-BE49-F238E27FC236}">
                    <a16:creationId xmlns:a16="http://schemas.microsoft.com/office/drawing/2014/main" id="{3BA0BC2F-D969-104F-2FD0-CF45D36259FF}"/>
                  </a:ext>
                </a:extLst>
              </p:cNvPr>
              <p:cNvSpPr/>
              <p:nvPr/>
            </p:nvSpPr>
            <p:spPr>
              <a:xfrm>
                <a:off x="18073618" y="10356815"/>
                <a:ext cx="260985" cy="313055"/>
              </a:xfrm>
              <a:custGeom>
                <a:avLst/>
                <a:gdLst/>
                <a:ahLst/>
                <a:cxnLst/>
                <a:rect l="l" t="t" r="r" b="b"/>
                <a:pathLst>
                  <a:path w="260984" h="313054">
                    <a:moveTo>
                      <a:pt x="130289" y="0"/>
                    </a:moveTo>
                    <a:lnTo>
                      <a:pt x="78682" y="7671"/>
                    </a:lnTo>
                    <a:lnTo>
                      <a:pt x="40822" y="28360"/>
                    </a:lnTo>
                    <a:lnTo>
                      <a:pt x="17523" y="58574"/>
                    </a:lnTo>
                    <a:lnTo>
                      <a:pt x="9601" y="94824"/>
                    </a:lnTo>
                    <a:lnTo>
                      <a:pt x="21302" y="138425"/>
                    </a:lnTo>
                    <a:lnTo>
                      <a:pt x="50787" y="165184"/>
                    </a:lnTo>
                    <a:lnTo>
                      <a:pt x="89631" y="180370"/>
                    </a:lnTo>
                    <a:lnTo>
                      <a:pt x="129409" y="189250"/>
                    </a:lnTo>
                    <a:lnTo>
                      <a:pt x="151085" y="194533"/>
                    </a:lnTo>
                    <a:lnTo>
                      <a:pt x="167360" y="200784"/>
                    </a:lnTo>
                    <a:lnTo>
                      <a:pt x="177593" y="208990"/>
                    </a:lnTo>
                    <a:lnTo>
                      <a:pt x="181146" y="220139"/>
                    </a:lnTo>
                    <a:lnTo>
                      <a:pt x="178169" y="230305"/>
                    </a:lnTo>
                    <a:lnTo>
                      <a:pt x="169613" y="238518"/>
                    </a:lnTo>
                    <a:lnTo>
                      <a:pt x="156042" y="244011"/>
                    </a:lnTo>
                    <a:lnTo>
                      <a:pt x="138016" y="246013"/>
                    </a:lnTo>
                    <a:lnTo>
                      <a:pt x="108540" y="242837"/>
                    </a:lnTo>
                    <a:lnTo>
                      <a:pt x="82344" y="234216"/>
                    </a:lnTo>
                    <a:lnTo>
                      <a:pt x="59809" y="221510"/>
                    </a:lnTo>
                    <a:lnTo>
                      <a:pt x="41318" y="206025"/>
                    </a:lnTo>
                    <a:lnTo>
                      <a:pt x="0" y="264599"/>
                    </a:lnTo>
                    <a:lnTo>
                      <a:pt x="25223" y="284356"/>
                    </a:lnTo>
                    <a:lnTo>
                      <a:pt x="55622" y="299531"/>
                    </a:lnTo>
                    <a:lnTo>
                      <a:pt x="91803" y="309266"/>
                    </a:lnTo>
                    <a:lnTo>
                      <a:pt x="134372" y="312702"/>
                    </a:lnTo>
                    <a:lnTo>
                      <a:pt x="188371" y="305443"/>
                    </a:lnTo>
                    <a:lnTo>
                      <a:pt x="227945" y="284908"/>
                    </a:lnTo>
                    <a:lnTo>
                      <a:pt x="252285" y="252965"/>
                    </a:lnTo>
                    <a:lnTo>
                      <a:pt x="260578" y="211480"/>
                    </a:lnTo>
                    <a:lnTo>
                      <a:pt x="249016" y="169435"/>
                    </a:lnTo>
                    <a:lnTo>
                      <a:pt x="219837" y="142952"/>
                    </a:lnTo>
                    <a:lnTo>
                      <a:pt x="181299" y="127359"/>
                    </a:lnTo>
                    <a:lnTo>
                      <a:pt x="141660" y="117985"/>
                    </a:lnTo>
                    <a:lnTo>
                      <a:pt x="119330" y="113216"/>
                    </a:lnTo>
                    <a:lnTo>
                      <a:pt x="102966" y="107720"/>
                    </a:lnTo>
                    <a:lnTo>
                      <a:pt x="92902" y="100435"/>
                    </a:lnTo>
                    <a:lnTo>
                      <a:pt x="89473" y="90300"/>
                    </a:lnTo>
                    <a:lnTo>
                      <a:pt x="91313" y="81050"/>
                    </a:lnTo>
                    <a:lnTo>
                      <a:pt x="97367" y="73551"/>
                    </a:lnTo>
                    <a:lnTo>
                      <a:pt x="108437" y="68524"/>
                    </a:lnTo>
                    <a:lnTo>
                      <a:pt x="125326" y="66689"/>
                    </a:lnTo>
                    <a:lnTo>
                      <a:pt x="146369" y="68645"/>
                    </a:lnTo>
                    <a:lnTo>
                      <a:pt x="168489" y="74516"/>
                    </a:lnTo>
                    <a:lnTo>
                      <a:pt x="190362" y="84305"/>
                    </a:lnTo>
                    <a:lnTo>
                      <a:pt x="210663" y="98017"/>
                    </a:lnTo>
                    <a:lnTo>
                      <a:pt x="253301" y="42197"/>
                    </a:lnTo>
                    <a:lnTo>
                      <a:pt x="227314" y="23920"/>
                    </a:lnTo>
                    <a:lnTo>
                      <a:pt x="197916" y="10713"/>
                    </a:lnTo>
                    <a:lnTo>
                      <a:pt x="165458" y="2698"/>
                    </a:lnTo>
                    <a:lnTo>
                      <a:pt x="130289" y="0"/>
                    </a:lnTo>
                    <a:close/>
                  </a:path>
                </a:pathLst>
              </a:custGeom>
              <a:solidFill>
                <a:srgbClr val="00BFFF"/>
              </a:solidFill>
            </p:spPr>
            <p:txBody>
              <a:bodyPr wrap="square" lIns="0" tIns="0" rIns="0" bIns="0" rtlCol="0"/>
              <a:lstStyle/>
              <a:p>
                <a:endParaRPr kern="0">
                  <a:solidFill>
                    <a:sysClr val="windowText" lastClr="000000"/>
                  </a:solidFill>
                </a:endParaRPr>
              </a:p>
            </p:txBody>
          </p:sp>
        </p:grpSp>
        <p:sp>
          <p:nvSpPr>
            <p:cNvPr id="7" name="object 29">
              <a:extLst>
                <a:ext uri="{FF2B5EF4-FFF2-40B4-BE49-F238E27FC236}">
                  <a16:creationId xmlns:a16="http://schemas.microsoft.com/office/drawing/2014/main" id="{CAB5D6DD-8398-7433-77CC-7159E765466D}"/>
                </a:ext>
              </a:extLst>
            </p:cNvPr>
            <p:cNvSpPr/>
            <p:nvPr/>
          </p:nvSpPr>
          <p:spPr>
            <a:xfrm>
              <a:off x="11126915" y="6279572"/>
              <a:ext cx="336097" cy="190186"/>
            </a:xfrm>
            <a:custGeom>
              <a:avLst/>
              <a:gdLst/>
              <a:ahLst/>
              <a:cxnLst/>
              <a:rect l="l" t="t" r="r" b="b"/>
              <a:pathLst>
                <a:path w="554355" h="313690">
                  <a:moveTo>
                    <a:pt x="247383" y="4508"/>
                  </a:moveTo>
                  <a:lnTo>
                    <a:pt x="0" y="4508"/>
                  </a:lnTo>
                  <a:lnTo>
                    <a:pt x="0" y="73088"/>
                  </a:lnTo>
                  <a:lnTo>
                    <a:pt x="84886" y="73088"/>
                  </a:lnTo>
                  <a:lnTo>
                    <a:pt x="84886" y="308038"/>
                  </a:lnTo>
                  <a:lnTo>
                    <a:pt x="162928" y="308038"/>
                  </a:lnTo>
                  <a:lnTo>
                    <a:pt x="162928" y="73088"/>
                  </a:lnTo>
                  <a:lnTo>
                    <a:pt x="247383" y="73088"/>
                  </a:lnTo>
                  <a:lnTo>
                    <a:pt x="247383" y="4508"/>
                  </a:lnTo>
                  <a:close/>
                </a:path>
                <a:path w="554355" h="313690">
                  <a:moveTo>
                    <a:pt x="554139" y="81254"/>
                  </a:moveTo>
                  <a:lnTo>
                    <a:pt x="535305" y="51714"/>
                  </a:lnTo>
                  <a:lnTo>
                    <a:pt x="507720" y="25654"/>
                  </a:lnTo>
                  <a:lnTo>
                    <a:pt x="469734" y="7086"/>
                  </a:lnTo>
                  <a:lnTo>
                    <a:pt x="419760" y="0"/>
                  </a:lnTo>
                  <a:lnTo>
                    <a:pt x="368109" y="7315"/>
                  </a:lnTo>
                  <a:lnTo>
                    <a:pt x="323684" y="28206"/>
                  </a:lnTo>
                  <a:lnTo>
                    <a:pt x="288937" y="61087"/>
                  </a:lnTo>
                  <a:lnTo>
                    <a:pt x="266293" y="104419"/>
                  </a:lnTo>
                  <a:lnTo>
                    <a:pt x="258191" y="156603"/>
                  </a:lnTo>
                  <a:lnTo>
                    <a:pt x="266280" y="208622"/>
                  </a:lnTo>
                  <a:lnTo>
                    <a:pt x="288912" y="251929"/>
                  </a:lnTo>
                  <a:lnTo>
                    <a:pt x="323672" y="284886"/>
                  </a:lnTo>
                  <a:lnTo>
                    <a:pt x="368096" y="305854"/>
                  </a:lnTo>
                  <a:lnTo>
                    <a:pt x="419760" y="313207"/>
                  </a:lnTo>
                  <a:lnTo>
                    <a:pt x="469798" y="306006"/>
                  </a:lnTo>
                  <a:lnTo>
                    <a:pt x="507885" y="287223"/>
                  </a:lnTo>
                  <a:lnTo>
                    <a:pt x="535495" y="261124"/>
                  </a:lnTo>
                  <a:lnTo>
                    <a:pt x="554139" y="231952"/>
                  </a:lnTo>
                  <a:lnTo>
                    <a:pt x="486943" y="200190"/>
                  </a:lnTo>
                  <a:lnTo>
                    <a:pt x="476643" y="217208"/>
                  </a:lnTo>
                  <a:lnTo>
                    <a:pt x="461352" y="231216"/>
                  </a:lnTo>
                  <a:lnTo>
                    <a:pt x="442074" y="240703"/>
                  </a:lnTo>
                  <a:lnTo>
                    <a:pt x="419760" y="244208"/>
                  </a:lnTo>
                  <a:lnTo>
                    <a:pt x="387032" y="237477"/>
                  </a:lnTo>
                  <a:lnTo>
                    <a:pt x="361010" y="218960"/>
                  </a:lnTo>
                  <a:lnTo>
                    <a:pt x="343827" y="191160"/>
                  </a:lnTo>
                  <a:lnTo>
                    <a:pt x="337629" y="156603"/>
                  </a:lnTo>
                  <a:lnTo>
                    <a:pt x="343827" y="122047"/>
                  </a:lnTo>
                  <a:lnTo>
                    <a:pt x="360984" y="94246"/>
                  </a:lnTo>
                  <a:lnTo>
                    <a:pt x="387007" y="75730"/>
                  </a:lnTo>
                  <a:lnTo>
                    <a:pt x="419760" y="69011"/>
                  </a:lnTo>
                  <a:lnTo>
                    <a:pt x="442074" y="72504"/>
                  </a:lnTo>
                  <a:lnTo>
                    <a:pt x="461352" y="81991"/>
                  </a:lnTo>
                  <a:lnTo>
                    <a:pt x="476643" y="95999"/>
                  </a:lnTo>
                  <a:lnTo>
                    <a:pt x="486943" y="113030"/>
                  </a:lnTo>
                  <a:lnTo>
                    <a:pt x="554139" y="81254"/>
                  </a:lnTo>
                  <a:close/>
                </a:path>
              </a:pathLst>
            </a:custGeom>
            <a:solidFill>
              <a:srgbClr val="FFFFFF"/>
            </a:solidFill>
          </p:spPr>
          <p:txBody>
            <a:bodyPr wrap="square" lIns="0" tIns="0" rIns="0" bIns="0" rtlCol="0"/>
            <a:lstStyle/>
            <a:p>
              <a:endParaRPr kern="0">
                <a:solidFill>
                  <a:sysClr val="windowText" lastClr="000000"/>
                </a:solidFill>
              </a:endParaRPr>
            </a:p>
          </p:txBody>
        </p:sp>
      </p:grpSp>
    </p:spTree>
    <p:extLst>
      <p:ext uri="{BB962C8B-B14F-4D97-AF65-F5344CB8AC3E}">
        <p14:creationId xmlns:p14="http://schemas.microsoft.com/office/powerpoint/2010/main" val="388595138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oal Yellow">
    <p:bg>
      <p:bgPr>
        <a:solidFill>
          <a:schemeClr val="accent1"/>
        </a:solidFill>
        <a:effectLst/>
      </p:bgPr>
    </p:bg>
    <p:spTree>
      <p:nvGrpSpPr>
        <p:cNvPr id="1" name=""/>
        <p:cNvGrpSpPr/>
        <p:nvPr/>
      </p:nvGrpSpPr>
      <p:grpSpPr>
        <a:xfrm>
          <a:off x="0" y="0"/>
          <a:ext cx="0" cy="0"/>
          <a:chOff x="0" y="0"/>
          <a:chExt cx="0" cy="0"/>
        </a:xfrm>
      </p:grpSpPr>
      <p:pic>
        <p:nvPicPr>
          <p:cNvPr id="10" name="Picture 9" descr="A close-up of a computer chip&#10;&#10;Description automatically generated">
            <a:extLst>
              <a:ext uri="{FF2B5EF4-FFF2-40B4-BE49-F238E27FC236}">
                <a16:creationId xmlns:a16="http://schemas.microsoft.com/office/drawing/2014/main" id="{F3C9B170-BEF2-C63A-BBDA-265F05E2A1C4}"/>
              </a:ext>
            </a:extLst>
          </p:cNvPr>
          <p:cNvPicPr>
            <a:picLocks noChangeAspect="1"/>
          </p:cNvPicPr>
          <p:nvPr userDrawn="1"/>
        </p:nvPicPr>
        <p:blipFill>
          <a:blip r:embed="rId2">
            <a:alphaModFix amt="35000"/>
            <a:extLst>
              <a:ext uri="{BEBA8EAE-BF5A-486C-A8C5-ECC9F3942E4B}">
                <a14:imgProps xmlns:a14="http://schemas.microsoft.com/office/drawing/2010/main">
                  <a14:imgLayer r:embed="rId3">
                    <a14:imgEffect>
                      <a14:brightnessContrast bright="-8000"/>
                    </a14:imgEffect>
                  </a14:imgLayer>
                </a14:imgProps>
              </a:ext>
              <a:ext uri="{28A0092B-C50C-407E-A947-70E740481C1C}">
                <a14:useLocalDpi xmlns:a14="http://schemas.microsoft.com/office/drawing/2010/main" val="0"/>
              </a:ext>
            </a:extLst>
          </a:blip>
          <a:srcRect l="4344" t="5917" r="3550" b="-446"/>
          <a:stretch/>
        </p:blipFill>
        <p:spPr>
          <a:xfrm>
            <a:off x="312656" y="894"/>
            <a:ext cx="11879344" cy="6856213"/>
          </a:xfrm>
          <a:prstGeom prst="rect">
            <a:avLst/>
          </a:prstGeom>
        </p:spPr>
      </p:pic>
      <p:sp>
        <p:nvSpPr>
          <p:cNvPr id="3" name="Date Placeholder 2">
            <a:extLst>
              <a:ext uri="{FF2B5EF4-FFF2-40B4-BE49-F238E27FC236}">
                <a16:creationId xmlns:a16="http://schemas.microsoft.com/office/drawing/2014/main" id="{E55CDA05-569A-6EBA-D765-5EB024851ABA}"/>
              </a:ext>
            </a:extLst>
          </p:cNvPr>
          <p:cNvSpPr>
            <a:spLocks noGrp="1"/>
          </p:cNvSpPr>
          <p:nvPr>
            <p:ph type="dt" sz="half" idx="10"/>
          </p:nvPr>
        </p:nvSpPr>
        <p:spPr/>
        <p:txBody>
          <a:bodyPr/>
          <a:lstStyle/>
          <a:p>
            <a:fld id="{9A5D80D6-DF3C-4908-938F-A45E5DC17A7C}" type="datetime1">
              <a:rPr lang="en-US" smtClean="0"/>
              <a:t>4/2/2025</a:t>
            </a:fld>
            <a:endParaRPr lang="en-US"/>
          </a:p>
        </p:txBody>
      </p:sp>
      <p:sp>
        <p:nvSpPr>
          <p:cNvPr id="4" name="Footer Placeholder 3">
            <a:extLst>
              <a:ext uri="{FF2B5EF4-FFF2-40B4-BE49-F238E27FC236}">
                <a16:creationId xmlns:a16="http://schemas.microsoft.com/office/drawing/2014/main" id="{848FA293-53F9-C37F-ACE7-61D7FAEC68E6}"/>
              </a:ext>
            </a:extLst>
          </p:cNvPr>
          <p:cNvSpPr>
            <a:spLocks noGrp="1"/>
          </p:cNvSpPr>
          <p:nvPr>
            <p:ph type="ftr" sz="quarter" idx="11"/>
          </p:nvPr>
        </p:nvSpPr>
        <p:spPr/>
        <p:txBody>
          <a:bodyPr/>
          <a:lstStyle/>
          <a:p>
            <a:endParaRPr lang="en-US"/>
          </a:p>
        </p:txBody>
      </p:sp>
      <p:pic>
        <p:nvPicPr>
          <p:cNvPr id="16" name="Picture 15" descr="A close-up of a person wearing safety glasses&#10;&#10;Description automatically generated">
            <a:extLst>
              <a:ext uri="{FF2B5EF4-FFF2-40B4-BE49-F238E27FC236}">
                <a16:creationId xmlns:a16="http://schemas.microsoft.com/office/drawing/2014/main" id="{9BEB5CA2-708F-2538-6292-0829F7C96305}"/>
              </a:ext>
            </a:extLst>
          </p:cNvPr>
          <p:cNvPicPr>
            <a:picLocks noChangeAspect="1"/>
          </p:cNvPicPr>
          <p:nvPr userDrawn="1"/>
        </p:nvPicPr>
        <p:blipFill>
          <a:blip r:embed="rId4">
            <a:alphaModFix/>
            <a:extLst>
              <a:ext uri="{28A0092B-C50C-407E-A947-70E740481C1C}">
                <a14:useLocalDpi xmlns:a14="http://schemas.microsoft.com/office/drawing/2010/main" val="0"/>
              </a:ext>
            </a:extLst>
          </a:blip>
          <a:srcRect l="939" t="11572" r="5121"/>
          <a:stretch/>
        </p:blipFill>
        <p:spPr>
          <a:xfrm>
            <a:off x="6037433" y="3596030"/>
            <a:ext cx="6161685" cy="3261970"/>
          </a:xfrm>
          <a:prstGeom prst="rect">
            <a:avLst/>
          </a:prstGeom>
        </p:spPr>
      </p:pic>
      <p:sp>
        <p:nvSpPr>
          <p:cNvPr id="14" name="object 7">
            <a:extLst>
              <a:ext uri="{FF2B5EF4-FFF2-40B4-BE49-F238E27FC236}">
                <a16:creationId xmlns:a16="http://schemas.microsoft.com/office/drawing/2014/main" id="{8F1D65B5-6294-EC93-FCFF-437DC14D2553}"/>
              </a:ext>
            </a:extLst>
          </p:cNvPr>
          <p:cNvSpPr/>
          <p:nvPr userDrawn="1"/>
        </p:nvSpPr>
        <p:spPr>
          <a:xfrm>
            <a:off x="-1" y="3610598"/>
            <a:ext cx="6037434" cy="3247402"/>
          </a:xfrm>
          <a:custGeom>
            <a:avLst/>
            <a:gdLst/>
            <a:ahLst/>
            <a:cxnLst/>
            <a:rect l="l" t="t" r="r" b="b"/>
            <a:pathLst>
              <a:path w="9958070" h="5356225">
                <a:moveTo>
                  <a:pt x="9957811" y="5355857"/>
                </a:moveTo>
                <a:lnTo>
                  <a:pt x="9957811" y="0"/>
                </a:lnTo>
                <a:lnTo>
                  <a:pt x="0" y="0"/>
                </a:lnTo>
                <a:lnTo>
                  <a:pt x="0" y="5355857"/>
                </a:lnTo>
                <a:lnTo>
                  <a:pt x="9957811" y="5355857"/>
                </a:lnTo>
                <a:close/>
              </a:path>
            </a:pathLst>
          </a:custGeom>
          <a:solidFill>
            <a:schemeClr val="accent4">
              <a:alpha val="94999"/>
            </a:schemeClr>
          </a:solidFill>
        </p:spPr>
        <p:txBody>
          <a:bodyPr wrap="square" lIns="0" tIns="0" rIns="0" bIns="0" rtlCol="0"/>
          <a:lstStyle/>
          <a:p>
            <a:endParaRPr/>
          </a:p>
        </p:txBody>
      </p:sp>
      <p:sp>
        <p:nvSpPr>
          <p:cNvPr id="18" name="object 20">
            <a:extLst>
              <a:ext uri="{FF2B5EF4-FFF2-40B4-BE49-F238E27FC236}">
                <a16:creationId xmlns:a16="http://schemas.microsoft.com/office/drawing/2014/main" id="{2A1F6A7A-A329-634A-D133-60BEFAF665F6}"/>
              </a:ext>
            </a:extLst>
          </p:cNvPr>
          <p:cNvSpPr/>
          <p:nvPr userDrawn="1"/>
        </p:nvSpPr>
        <p:spPr>
          <a:xfrm>
            <a:off x="730059" y="652"/>
            <a:ext cx="968253" cy="152457"/>
          </a:xfrm>
          <a:custGeom>
            <a:avLst/>
            <a:gdLst/>
            <a:ahLst/>
            <a:cxnLst/>
            <a:rect l="l" t="t" r="r" b="b"/>
            <a:pathLst>
              <a:path w="1597025" h="251460">
                <a:moveTo>
                  <a:pt x="1596810" y="0"/>
                </a:moveTo>
                <a:lnTo>
                  <a:pt x="0" y="0"/>
                </a:lnTo>
                <a:lnTo>
                  <a:pt x="0" y="251301"/>
                </a:lnTo>
                <a:lnTo>
                  <a:pt x="1596810" y="251301"/>
                </a:lnTo>
                <a:lnTo>
                  <a:pt x="1596810" y="0"/>
                </a:lnTo>
                <a:close/>
              </a:path>
            </a:pathLst>
          </a:custGeom>
          <a:solidFill>
            <a:schemeClr val="accent4"/>
          </a:solidFill>
        </p:spPr>
        <p:txBody>
          <a:bodyPr wrap="square" lIns="0" tIns="0" rIns="0" bIns="0" rtlCol="0"/>
          <a:lstStyle/>
          <a:p>
            <a:endParaRPr/>
          </a:p>
        </p:txBody>
      </p:sp>
      <p:sp>
        <p:nvSpPr>
          <p:cNvPr id="25" name="Slide Number Box">
            <a:extLst>
              <a:ext uri="{FF2B5EF4-FFF2-40B4-BE49-F238E27FC236}">
                <a16:creationId xmlns:a16="http://schemas.microsoft.com/office/drawing/2014/main" id="{E09E9657-6864-4EF7-5B2D-CC7D45433A23}"/>
              </a:ext>
            </a:extLst>
          </p:cNvPr>
          <p:cNvSpPr txBox="1"/>
          <p:nvPr userDrawn="1"/>
        </p:nvSpPr>
        <p:spPr>
          <a:xfrm>
            <a:off x="11566535" y="6234575"/>
            <a:ext cx="279503" cy="283464"/>
          </a:xfrm>
          <a:prstGeom prst="rect">
            <a:avLst/>
          </a:prstGeom>
          <a:solidFill>
            <a:srgbClr val="FFD700"/>
          </a:solidFill>
        </p:spPr>
        <p:txBody>
          <a:bodyPr vert="horz" wrap="square" lIns="0" tIns="38884" rIns="0" bIns="0" rtlCol="0">
            <a:spAutoFit/>
          </a:bodyPr>
          <a:lstStyle/>
          <a:p>
            <a:pPr marL="55825" algn="ctr">
              <a:spcBef>
                <a:spcPts val="306"/>
              </a:spcBef>
            </a:pPr>
            <a:endParaRPr sz="1182">
              <a:latin typeface="Real Head Pro"/>
              <a:cs typeface="Real Head Pro"/>
            </a:endParaRPr>
          </a:p>
        </p:txBody>
      </p:sp>
      <p:sp>
        <p:nvSpPr>
          <p:cNvPr id="5" name="Slide Number Placeholder 4">
            <a:extLst>
              <a:ext uri="{FF2B5EF4-FFF2-40B4-BE49-F238E27FC236}">
                <a16:creationId xmlns:a16="http://schemas.microsoft.com/office/drawing/2014/main" id="{56863585-6F80-51FC-FAE2-A476E166644D}"/>
              </a:ext>
            </a:extLst>
          </p:cNvPr>
          <p:cNvSpPr>
            <a:spLocks noGrp="1"/>
          </p:cNvSpPr>
          <p:nvPr>
            <p:ph type="sldNum" sz="quarter" idx="12"/>
          </p:nvPr>
        </p:nvSpPr>
        <p:spPr/>
        <p:txBody>
          <a:bodyPr/>
          <a:lstStyle/>
          <a:p>
            <a:fld id="{FF7D9A68-EC15-4B1F-850C-8A6CCAFA90D8}" type="slidenum">
              <a:rPr lang="en-US" smtClean="0"/>
              <a:pPr/>
              <a:t>‹#›</a:t>
            </a:fld>
            <a:endParaRPr lang="en-US"/>
          </a:p>
        </p:txBody>
      </p:sp>
      <p:sp>
        <p:nvSpPr>
          <p:cNvPr id="24" name="Text Placeholder 32">
            <a:extLst>
              <a:ext uri="{FF2B5EF4-FFF2-40B4-BE49-F238E27FC236}">
                <a16:creationId xmlns:a16="http://schemas.microsoft.com/office/drawing/2014/main" id="{9AEAF736-86DB-05A9-16DE-AF5E4CED0167}"/>
              </a:ext>
            </a:extLst>
          </p:cNvPr>
          <p:cNvSpPr>
            <a:spLocks noGrp="1"/>
          </p:cNvSpPr>
          <p:nvPr>
            <p:ph type="body" sz="quarter" idx="13" hasCustomPrompt="1"/>
          </p:nvPr>
        </p:nvSpPr>
        <p:spPr>
          <a:xfrm>
            <a:off x="763623" y="260648"/>
            <a:ext cx="8229600" cy="457200"/>
          </a:xfrm>
        </p:spPr>
        <p:txBody>
          <a:bodyPr anchor="b"/>
          <a:lstStyle>
            <a:lvl1pPr marL="0" indent="0">
              <a:buNone/>
              <a:defRPr sz="2400">
                <a:solidFill>
                  <a:schemeClr val="accent4"/>
                </a:solidFill>
                <a:latin typeface="+mj-lt"/>
              </a:defRPr>
            </a:lvl1pPr>
          </a:lstStyle>
          <a:p>
            <a:pPr lvl="0"/>
            <a:r>
              <a:rPr lang="en-US"/>
              <a:t>Goal.</a:t>
            </a:r>
          </a:p>
        </p:txBody>
      </p:sp>
      <p:sp>
        <p:nvSpPr>
          <p:cNvPr id="26" name="Text Placeholder 32">
            <a:extLst>
              <a:ext uri="{FF2B5EF4-FFF2-40B4-BE49-F238E27FC236}">
                <a16:creationId xmlns:a16="http://schemas.microsoft.com/office/drawing/2014/main" id="{0F016BA2-2D81-B0F1-386D-2BDC8B2BB1C4}"/>
              </a:ext>
            </a:extLst>
          </p:cNvPr>
          <p:cNvSpPr>
            <a:spLocks noGrp="1"/>
          </p:cNvSpPr>
          <p:nvPr>
            <p:ph type="body" sz="quarter" idx="14" hasCustomPrompt="1"/>
          </p:nvPr>
        </p:nvSpPr>
        <p:spPr>
          <a:xfrm>
            <a:off x="763623" y="847564"/>
            <a:ext cx="8229600" cy="914400"/>
          </a:xfrm>
        </p:spPr>
        <p:txBody>
          <a:bodyPr anchor="t"/>
          <a:lstStyle>
            <a:lvl1pPr marL="0" indent="0">
              <a:spcBef>
                <a:spcPts val="0"/>
              </a:spcBef>
              <a:buNone/>
              <a:defRPr sz="3150">
                <a:solidFill>
                  <a:schemeClr val="bg1"/>
                </a:solidFill>
                <a:latin typeface="+mj-lt"/>
              </a:defRPr>
            </a:lvl1pPr>
          </a:lstStyle>
          <a:p>
            <a:pPr lvl="0"/>
            <a:r>
              <a:rPr lang="en-US"/>
              <a:t>Heading</a:t>
            </a:r>
          </a:p>
        </p:txBody>
      </p:sp>
      <p:sp>
        <p:nvSpPr>
          <p:cNvPr id="27" name="Text Placeholder 32">
            <a:extLst>
              <a:ext uri="{FF2B5EF4-FFF2-40B4-BE49-F238E27FC236}">
                <a16:creationId xmlns:a16="http://schemas.microsoft.com/office/drawing/2014/main" id="{373D34BD-55F1-C7EF-AD70-DFF025E4B0DF}"/>
              </a:ext>
            </a:extLst>
          </p:cNvPr>
          <p:cNvSpPr>
            <a:spLocks noGrp="1"/>
          </p:cNvSpPr>
          <p:nvPr>
            <p:ph type="body" sz="quarter" idx="15"/>
          </p:nvPr>
        </p:nvSpPr>
        <p:spPr>
          <a:xfrm>
            <a:off x="763624" y="3897052"/>
            <a:ext cx="5044343" cy="448821"/>
          </a:xfrm>
        </p:spPr>
        <p:txBody>
          <a:bodyPr anchor="b"/>
          <a:lstStyle>
            <a:lvl1pPr marL="0" indent="0">
              <a:spcBef>
                <a:spcPts val="0"/>
              </a:spcBef>
              <a:buNone/>
              <a:defRPr sz="2000" b="1">
                <a:solidFill>
                  <a:schemeClr val="accent1"/>
                </a:solidFill>
                <a:latin typeface="+mn-lt"/>
              </a:defRPr>
            </a:lvl1pPr>
          </a:lstStyle>
          <a:p>
            <a:pPr lvl="0"/>
            <a:endParaRPr lang="en-US"/>
          </a:p>
        </p:txBody>
      </p:sp>
      <p:sp>
        <p:nvSpPr>
          <p:cNvPr id="29" name="Text Placeholder 32">
            <a:extLst>
              <a:ext uri="{FF2B5EF4-FFF2-40B4-BE49-F238E27FC236}">
                <a16:creationId xmlns:a16="http://schemas.microsoft.com/office/drawing/2014/main" id="{7E6776FC-47CE-4CF7-9B0E-CEC18F15B950}"/>
              </a:ext>
            </a:extLst>
          </p:cNvPr>
          <p:cNvSpPr>
            <a:spLocks noGrp="1"/>
          </p:cNvSpPr>
          <p:nvPr>
            <p:ph type="body" sz="quarter" idx="17"/>
          </p:nvPr>
        </p:nvSpPr>
        <p:spPr>
          <a:xfrm>
            <a:off x="763623" y="1886575"/>
            <a:ext cx="5394960" cy="1584844"/>
          </a:xfrm>
        </p:spPr>
        <p:txBody>
          <a:bodyPr anchor="t"/>
          <a:lstStyle>
            <a:lvl1pPr marL="0" indent="0">
              <a:lnSpc>
                <a:spcPct val="125000"/>
              </a:lnSpc>
              <a:spcBef>
                <a:spcPts val="0"/>
              </a:spcBef>
              <a:buNone/>
              <a:defRPr sz="1800" b="0">
                <a:solidFill>
                  <a:schemeClr val="bg1"/>
                </a:solidFill>
                <a:latin typeface="+mn-lt"/>
              </a:defRPr>
            </a:lvl1pPr>
          </a:lstStyle>
          <a:p>
            <a:pPr lvl="0"/>
            <a:endParaRPr lang="en-US"/>
          </a:p>
        </p:txBody>
      </p:sp>
      <p:grpSp>
        <p:nvGrpSpPr>
          <p:cNvPr id="2" name="Group 1">
            <a:extLst>
              <a:ext uri="{FF2B5EF4-FFF2-40B4-BE49-F238E27FC236}">
                <a16:creationId xmlns:a16="http://schemas.microsoft.com/office/drawing/2014/main" id="{CD53A0C2-4F6E-9D1B-B9DB-A485D9E6BDBB}"/>
              </a:ext>
            </a:extLst>
          </p:cNvPr>
          <p:cNvGrpSpPr/>
          <p:nvPr userDrawn="1"/>
        </p:nvGrpSpPr>
        <p:grpSpPr>
          <a:xfrm>
            <a:off x="10768672" y="6279572"/>
            <a:ext cx="694340" cy="190186"/>
            <a:chOff x="10768672" y="6279572"/>
            <a:chExt cx="694340" cy="190186"/>
          </a:xfrm>
        </p:grpSpPr>
        <p:grpSp>
          <p:nvGrpSpPr>
            <p:cNvPr id="6" name="object 26">
              <a:extLst>
                <a:ext uri="{FF2B5EF4-FFF2-40B4-BE49-F238E27FC236}">
                  <a16:creationId xmlns:a16="http://schemas.microsoft.com/office/drawing/2014/main" id="{2E207D97-11B6-EF14-2580-4874DD47A1A8}"/>
                </a:ext>
              </a:extLst>
            </p:cNvPr>
            <p:cNvGrpSpPr/>
            <p:nvPr/>
          </p:nvGrpSpPr>
          <p:grpSpPr>
            <a:xfrm>
              <a:off x="10768672" y="6279841"/>
              <a:ext cx="348802" cy="189801"/>
              <a:chOff x="17759098" y="10356815"/>
              <a:chExt cx="575310" cy="313055"/>
            </a:xfrm>
          </p:grpSpPr>
          <p:sp>
            <p:nvSpPr>
              <p:cNvPr id="8" name="object 27">
                <a:extLst>
                  <a:ext uri="{FF2B5EF4-FFF2-40B4-BE49-F238E27FC236}">
                    <a16:creationId xmlns:a16="http://schemas.microsoft.com/office/drawing/2014/main" id="{E0555782-7182-18CE-D4FA-C5ACFD39C636}"/>
                  </a:ext>
                </a:extLst>
              </p:cNvPr>
              <p:cNvSpPr/>
              <p:nvPr/>
            </p:nvSpPr>
            <p:spPr>
              <a:xfrm>
                <a:off x="17759098" y="10361392"/>
                <a:ext cx="281940" cy="302895"/>
              </a:xfrm>
              <a:custGeom>
                <a:avLst/>
                <a:gdLst/>
                <a:ahLst/>
                <a:cxnLst/>
                <a:rect l="l" t="t" r="r" b="b"/>
                <a:pathLst>
                  <a:path w="281940" h="302895">
                    <a:moveTo>
                      <a:pt x="281478" y="0"/>
                    </a:moveTo>
                    <a:lnTo>
                      <a:pt x="202936" y="0"/>
                    </a:lnTo>
                    <a:lnTo>
                      <a:pt x="202936" y="174308"/>
                    </a:lnTo>
                    <a:lnTo>
                      <a:pt x="80364" y="0"/>
                    </a:lnTo>
                    <a:lnTo>
                      <a:pt x="0" y="0"/>
                    </a:lnTo>
                    <a:lnTo>
                      <a:pt x="0" y="302723"/>
                    </a:lnTo>
                    <a:lnTo>
                      <a:pt x="78049" y="302723"/>
                    </a:lnTo>
                    <a:lnTo>
                      <a:pt x="78049" y="119807"/>
                    </a:lnTo>
                    <a:lnTo>
                      <a:pt x="206129" y="302776"/>
                    </a:lnTo>
                    <a:lnTo>
                      <a:pt x="281478" y="302776"/>
                    </a:lnTo>
                    <a:lnTo>
                      <a:pt x="281478" y="0"/>
                    </a:lnTo>
                    <a:close/>
                  </a:path>
                </a:pathLst>
              </a:custGeom>
              <a:solidFill>
                <a:srgbClr val="FFFFFF"/>
              </a:solidFill>
            </p:spPr>
            <p:txBody>
              <a:bodyPr wrap="square" lIns="0" tIns="0" rIns="0" bIns="0" rtlCol="0"/>
              <a:lstStyle/>
              <a:p>
                <a:endParaRPr kern="0">
                  <a:solidFill>
                    <a:sysClr val="windowText" lastClr="000000"/>
                  </a:solidFill>
                </a:endParaRPr>
              </a:p>
            </p:txBody>
          </p:sp>
          <p:sp>
            <p:nvSpPr>
              <p:cNvPr id="9" name="object 28">
                <a:extLst>
                  <a:ext uri="{FF2B5EF4-FFF2-40B4-BE49-F238E27FC236}">
                    <a16:creationId xmlns:a16="http://schemas.microsoft.com/office/drawing/2014/main" id="{3BA0BC2F-D969-104F-2FD0-CF45D36259FF}"/>
                  </a:ext>
                </a:extLst>
              </p:cNvPr>
              <p:cNvSpPr/>
              <p:nvPr/>
            </p:nvSpPr>
            <p:spPr>
              <a:xfrm>
                <a:off x="18073618" y="10356815"/>
                <a:ext cx="260985" cy="313055"/>
              </a:xfrm>
              <a:custGeom>
                <a:avLst/>
                <a:gdLst/>
                <a:ahLst/>
                <a:cxnLst/>
                <a:rect l="l" t="t" r="r" b="b"/>
                <a:pathLst>
                  <a:path w="260984" h="313054">
                    <a:moveTo>
                      <a:pt x="130289" y="0"/>
                    </a:moveTo>
                    <a:lnTo>
                      <a:pt x="78682" y="7671"/>
                    </a:lnTo>
                    <a:lnTo>
                      <a:pt x="40822" y="28360"/>
                    </a:lnTo>
                    <a:lnTo>
                      <a:pt x="17523" y="58574"/>
                    </a:lnTo>
                    <a:lnTo>
                      <a:pt x="9601" y="94824"/>
                    </a:lnTo>
                    <a:lnTo>
                      <a:pt x="21302" y="138425"/>
                    </a:lnTo>
                    <a:lnTo>
                      <a:pt x="50787" y="165184"/>
                    </a:lnTo>
                    <a:lnTo>
                      <a:pt x="89631" y="180370"/>
                    </a:lnTo>
                    <a:lnTo>
                      <a:pt x="129409" y="189250"/>
                    </a:lnTo>
                    <a:lnTo>
                      <a:pt x="151085" y="194533"/>
                    </a:lnTo>
                    <a:lnTo>
                      <a:pt x="167360" y="200784"/>
                    </a:lnTo>
                    <a:lnTo>
                      <a:pt x="177593" y="208990"/>
                    </a:lnTo>
                    <a:lnTo>
                      <a:pt x="181146" y="220139"/>
                    </a:lnTo>
                    <a:lnTo>
                      <a:pt x="178169" y="230305"/>
                    </a:lnTo>
                    <a:lnTo>
                      <a:pt x="169613" y="238518"/>
                    </a:lnTo>
                    <a:lnTo>
                      <a:pt x="156042" y="244011"/>
                    </a:lnTo>
                    <a:lnTo>
                      <a:pt x="138016" y="246013"/>
                    </a:lnTo>
                    <a:lnTo>
                      <a:pt x="108540" y="242837"/>
                    </a:lnTo>
                    <a:lnTo>
                      <a:pt x="82344" y="234216"/>
                    </a:lnTo>
                    <a:lnTo>
                      <a:pt x="59809" y="221510"/>
                    </a:lnTo>
                    <a:lnTo>
                      <a:pt x="41318" y="206025"/>
                    </a:lnTo>
                    <a:lnTo>
                      <a:pt x="0" y="264599"/>
                    </a:lnTo>
                    <a:lnTo>
                      <a:pt x="25223" y="284356"/>
                    </a:lnTo>
                    <a:lnTo>
                      <a:pt x="55622" y="299531"/>
                    </a:lnTo>
                    <a:lnTo>
                      <a:pt x="91803" y="309266"/>
                    </a:lnTo>
                    <a:lnTo>
                      <a:pt x="134372" y="312702"/>
                    </a:lnTo>
                    <a:lnTo>
                      <a:pt x="188371" y="305443"/>
                    </a:lnTo>
                    <a:lnTo>
                      <a:pt x="227945" y="284908"/>
                    </a:lnTo>
                    <a:lnTo>
                      <a:pt x="252285" y="252965"/>
                    </a:lnTo>
                    <a:lnTo>
                      <a:pt x="260578" y="211480"/>
                    </a:lnTo>
                    <a:lnTo>
                      <a:pt x="249016" y="169435"/>
                    </a:lnTo>
                    <a:lnTo>
                      <a:pt x="219837" y="142952"/>
                    </a:lnTo>
                    <a:lnTo>
                      <a:pt x="181299" y="127359"/>
                    </a:lnTo>
                    <a:lnTo>
                      <a:pt x="141660" y="117985"/>
                    </a:lnTo>
                    <a:lnTo>
                      <a:pt x="119330" y="113216"/>
                    </a:lnTo>
                    <a:lnTo>
                      <a:pt x="102966" y="107720"/>
                    </a:lnTo>
                    <a:lnTo>
                      <a:pt x="92902" y="100435"/>
                    </a:lnTo>
                    <a:lnTo>
                      <a:pt x="89473" y="90300"/>
                    </a:lnTo>
                    <a:lnTo>
                      <a:pt x="91313" y="81050"/>
                    </a:lnTo>
                    <a:lnTo>
                      <a:pt x="97367" y="73551"/>
                    </a:lnTo>
                    <a:lnTo>
                      <a:pt x="108437" y="68524"/>
                    </a:lnTo>
                    <a:lnTo>
                      <a:pt x="125326" y="66689"/>
                    </a:lnTo>
                    <a:lnTo>
                      <a:pt x="146369" y="68645"/>
                    </a:lnTo>
                    <a:lnTo>
                      <a:pt x="168489" y="74516"/>
                    </a:lnTo>
                    <a:lnTo>
                      <a:pt x="190362" y="84305"/>
                    </a:lnTo>
                    <a:lnTo>
                      <a:pt x="210663" y="98017"/>
                    </a:lnTo>
                    <a:lnTo>
                      <a:pt x="253301" y="42197"/>
                    </a:lnTo>
                    <a:lnTo>
                      <a:pt x="227314" y="23920"/>
                    </a:lnTo>
                    <a:lnTo>
                      <a:pt x="197916" y="10713"/>
                    </a:lnTo>
                    <a:lnTo>
                      <a:pt x="165458" y="2698"/>
                    </a:lnTo>
                    <a:lnTo>
                      <a:pt x="130289" y="0"/>
                    </a:lnTo>
                    <a:close/>
                  </a:path>
                </a:pathLst>
              </a:custGeom>
              <a:solidFill>
                <a:srgbClr val="00BFFF"/>
              </a:solidFill>
            </p:spPr>
            <p:txBody>
              <a:bodyPr wrap="square" lIns="0" tIns="0" rIns="0" bIns="0" rtlCol="0"/>
              <a:lstStyle/>
              <a:p>
                <a:endParaRPr kern="0">
                  <a:solidFill>
                    <a:sysClr val="windowText" lastClr="000000"/>
                  </a:solidFill>
                </a:endParaRPr>
              </a:p>
            </p:txBody>
          </p:sp>
        </p:grpSp>
        <p:sp>
          <p:nvSpPr>
            <p:cNvPr id="7" name="object 29">
              <a:extLst>
                <a:ext uri="{FF2B5EF4-FFF2-40B4-BE49-F238E27FC236}">
                  <a16:creationId xmlns:a16="http://schemas.microsoft.com/office/drawing/2014/main" id="{CAB5D6DD-8398-7433-77CC-7159E765466D}"/>
                </a:ext>
              </a:extLst>
            </p:cNvPr>
            <p:cNvSpPr/>
            <p:nvPr/>
          </p:nvSpPr>
          <p:spPr>
            <a:xfrm>
              <a:off x="11126915" y="6279572"/>
              <a:ext cx="336097" cy="190186"/>
            </a:xfrm>
            <a:custGeom>
              <a:avLst/>
              <a:gdLst/>
              <a:ahLst/>
              <a:cxnLst/>
              <a:rect l="l" t="t" r="r" b="b"/>
              <a:pathLst>
                <a:path w="554355" h="313690">
                  <a:moveTo>
                    <a:pt x="247383" y="4508"/>
                  </a:moveTo>
                  <a:lnTo>
                    <a:pt x="0" y="4508"/>
                  </a:lnTo>
                  <a:lnTo>
                    <a:pt x="0" y="73088"/>
                  </a:lnTo>
                  <a:lnTo>
                    <a:pt x="84886" y="73088"/>
                  </a:lnTo>
                  <a:lnTo>
                    <a:pt x="84886" y="308038"/>
                  </a:lnTo>
                  <a:lnTo>
                    <a:pt x="162928" y="308038"/>
                  </a:lnTo>
                  <a:lnTo>
                    <a:pt x="162928" y="73088"/>
                  </a:lnTo>
                  <a:lnTo>
                    <a:pt x="247383" y="73088"/>
                  </a:lnTo>
                  <a:lnTo>
                    <a:pt x="247383" y="4508"/>
                  </a:lnTo>
                  <a:close/>
                </a:path>
                <a:path w="554355" h="313690">
                  <a:moveTo>
                    <a:pt x="554139" y="81254"/>
                  </a:moveTo>
                  <a:lnTo>
                    <a:pt x="535305" y="51714"/>
                  </a:lnTo>
                  <a:lnTo>
                    <a:pt x="507720" y="25654"/>
                  </a:lnTo>
                  <a:lnTo>
                    <a:pt x="469734" y="7086"/>
                  </a:lnTo>
                  <a:lnTo>
                    <a:pt x="419760" y="0"/>
                  </a:lnTo>
                  <a:lnTo>
                    <a:pt x="368109" y="7315"/>
                  </a:lnTo>
                  <a:lnTo>
                    <a:pt x="323684" y="28206"/>
                  </a:lnTo>
                  <a:lnTo>
                    <a:pt x="288937" y="61087"/>
                  </a:lnTo>
                  <a:lnTo>
                    <a:pt x="266293" y="104419"/>
                  </a:lnTo>
                  <a:lnTo>
                    <a:pt x="258191" y="156603"/>
                  </a:lnTo>
                  <a:lnTo>
                    <a:pt x="266280" y="208622"/>
                  </a:lnTo>
                  <a:lnTo>
                    <a:pt x="288912" y="251929"/>
                  </a:lnTo>
                  <a:lnTo>
                    <a:pt x="323672" y="284886"/>
                  </a:lnTo>
                  <a:lnTo>
                    <a:pt x="368096" y="305854"/>
                  </a:lnTo>
                  <a:lnTo>
                    <a:pt x="419760" y="313207"/>
                  </a:lnTo>
                  <a:lnTo>
                    <a:pt x="469798" y="306006"/>
                  </a:lnTo>
                  <a:lnTo>
                    <a:pt x="507885" y="287223"/>
                  </a:lnTo>
                  <a:lnTo>
                    <a:pt x="535495" y="261124"/>
                  </a:lnTo>
                  <a:lnTo>
                    <a:pt x="554139" y="231952"/>
                  </a:lnTo>
                  <a:lnTo>
                    <a:pt x="486943" y="200190"/>
                  </a:lnTo>
                  <a:lnTo>
                    <a:pt x="476643" y="217208"/>
                  </a:lnTo>
                  <a:lnTo>
                    <a:pt x="461352" y="231216"/>
                  </a:lnTo>
                  <a:lnTo>
                    <a:pt x="442074" y="240703"/>
                  </a:lnTo>
                  <a:lnTo>
                    <a:pt x="419760" y="244208"/>
                  </a:lnTo>
                  <a:lnTo>
                    <a:pt x="387032" y="237477"/>
                  </a:lnTo>
                  <a:lnTo>
                    <a:pt x="361010" y="218960"/>
                  </a:lnTo>
                  <a:lnTo>
                    <a:pt x="343827" y="191160"/>
                  </a:lnTo>
                  <a:lnTo>
                    <a:pt x="337629" y="156603"/>
                  </a:lnTo>
                  <a:lnTo>
                    <a:pt x="343827" y="122047"/>
                  </a:lnTo>
                  <a:lnTo>
                    <a:pt x="360984" y="94246"/>
                  </a:lnTo>
                  <a:lnTo>
                    <a:pt x="387007" y="75730"/>
                  </a:lnTo>
                  <a:lnTo>
                    <a:pt x="419760" y="69011"/>
                  </a:lnTo>
                  <a:lnTo>
                    <a:pt x="442074" y="72504"/>
                  </a:lnTo>
                  <a:lnTo>
                    <a:pt x="461352" y="81991"/>
                  </a:lnTo>
                  <a:lnTo>
                    <a:pt x="476643" y="95999"/>
                  </a:lnTo>
                  <a:lnTo>
                    <a:pt x="486943" y="113030"/>
                  </a:lnTo>
                  <a:lnTo>
                    <a:pt x="554139" y="81254"/>
                  </a:lnTo>
                  <a:close/>
                </a:path>
              </a:pathLst>
            </a:custGeom>
            <a:solidFill>
              <a:srgbClr val="FFFFFF"/>
            </a:solidFill>
          </p:spPr>
          <p:txBody>
            <a:bodyPr wrap="square" lIns="0" tIns="0" rIns="0" bIns="0" rtlCol="0"/>
            <a:lstStyle/>
            <a:p>
              <a:endParaRPr kern="0">
                <a:solidFill>
                  <a:sysClr val="windowText" lastClr="000000"/>
                </a:solidFill>
              </a:endParaRPr>
            </a:p>
          </p:txBody>
        </p:sp>
      </p:grpSp>
    </p:spTree>
    <p:extLst>
      <p:ext uri="{BB962C8B-B14F-4D97-AF65-F5344CB8AC3E}">
        <p14:creationId xmlns:p14="http://schemas.microsoft.com/office/powerpoint/2010/main" val="5425197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ubtitle and graphic">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C16F05C-4BB9-7C82-C709-68EA2F74B897}"/>
              </a:ext>
            </a:extLst>
          </p:cNvPr>
          <p:cNvSpPr>
            <a:spLocks noGrp="1"/>
          </p:cNvSpPr>
          <p:nvPr>
            <p:ph type="dt" sz="half" idx="10"/>
          </p:nvPr>
        </p:nvSpPr>
        <p:spPr/>
        <p:txBody>
          <a:bodyPr/>
          <a:lstStyle/>
          <a:p>
            <a:fld id="{538BA0BE-9994-4243-B399-F1EA7335824C}" type="datetime1">
              <a:rPr lang="en-US" smtClean="0"/>
              <a:t>4/2/2025</a:t>
            </a:fld>
            <a:endParaRPr lang="en-US"/>
          </a:p>
        </p:txBody>
      </p:sp>
      <p:sp>
        <p:nvSpPr>
          <p:cNvPr id="4" name="Footer Placeholder 3">
            <a:extLst>
              <a:ext uri="{FF2B5EF4-FFF2-40B4-BE49-F238E27FC236}">
                <a16:creationId xmlns:a16="http://schemas.microsoft.com/office/drawing/2014/main" id="{B562C211-B566-11DA-A38D-90605158656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7048A19-F166-EDA1-0B00-A974B424E906}"/>
              </a:ext>
            </a:extLst>
          </p:cNvPr>
          <p:cNvSpPr>
            <a:spLocks noGrp="1"/>
          </p:cNvSpPr>
          <p:nvPr>
            <p:ph type="sldNum" sz="quarter" idx="12"/>
          </p:nvPr>
        </p:nvSpPr>
        <p:spPr/>
        <p:txBody>
          <a:bodyPr/>
          <a:lstStyle/>
          <a:p>
            <a:fld id="{FF7D9A68-EC15-4B1F-850C-8A6CCAFA90D8}" type="slidenum">
              <a:rPr lang="en-US" smtClean="0"/>
              <a:t>‹#›</a:t>
            </a:fld>
            <a:endParaRPr lang="en-US"/>
          </a:p>
        </p:txBody>
      </p:sp>
      <p:sp>
        <p:nvSpPr>
          <p:cNvPr id="6" name="object 24">
            <a:extLst>
              <a:ext uri="{FF2B5EF4-FFF2-40B4-BE49-F238E27FC236}">
                <a16:creationId xmlns:a16="http://schemas.microsoft.com/office/drawing/2014/main" id="{E5F920B2-E5F2-B5E1-9A23-2C5EE88B6F55}"/>
              </a:ext>
            </a:extLst>
          </p:cNvPr>
          <p:cNvSpPr/>
          <p:nvPr userDrawn="1"/>
        </p:nvSpPr>
        <p:spPr>
          <a:xfrm>
            <a:off x="1588" y="343463"/>
            <a:ext cx="152457" cy="6170641"/>
          </a:xfrm>
          <a:custGeom>
            <a:avLst/>
            <a:gdLst/>
            <a:ahLst/>
            <a:cxnLst/>
            <a:rect l="l" t="t" r="r" b="b"/>
            <a:pathLst>
              <a:path w="251460" h="10177780">
                <a:moveTo>
                  <a:pt x="251301" y="0"/>
                </a:moveTo>
                <a:lnTo>
                  <a:pt x="0" y="0"/>
                </a:lnTo>
                <a:lnTo>
                  <a:pt x="0" y="10177700"/>
                </a:lnTo>
                <a:lnTo>
                  <a:pt x="251301" y="10177700"/>
                </a:lnTo>
                <a:lnTo>
                  <a:pt x="251301" y="0"/>
                </a:lnTo>
                <a:close/>
              </a:path>
            </a:pathLst>
          </a:custGeom>
          <a:solidFill>
            <a:schemeClr val="tx2"/>
          </a:solidFill>
        </p:spPr>
        <p:txBody>
          <a:bodyPr wrap="square" lIns="0" tIns="0" rIns="0" bIns="0" rtlCol="0"/>
          <a:lstStyle/>
          <a:p>
            <a:endParaRPr kern="0">
              <a:solidFill>
                <a:sysClr val="windowText" lastClr="000000"/>
              </a:solidFill>
            </a:endParaRPr>
          </a:p>
        </p:txBody>
      </p:sp>
      <p:sp>
        <p:nvSpPr>
          <p:cNvPr id="7" name="Text Placeholder 32">
            <a:extLst>
              <a:ext uri="{FF2B5EF4-FFF2-40B4-BE49-F238E27FC236}">
                <a16:creationId xmlns:a16="http://schemas.microsoft.com/office/drawing/2014/main" id="{76176889-EC90-7074-D8BD-FB8FBFBCB343}"/>
              </a:ext>
            </a:extLst>
          </p:cNvPr>
          <p:cNvSpPr>
            <a:spLocks noGrp="1"/>
          </p:cNvSpPr>
          <p:nvPr>
            <p:ph type="body" sz="quarter" idx="14" hasCustomPrompt="1"/>
          </p:nvPr>
        </p:nvSpPr>
        <p:spPr>
          <a:xfrm>
            <a:off x="763623" y="332656"/>
            <a:ext cx="8229600" cy="914400"/>
          </a:xfrm>
        </p:spPr>
        <p:txBody>
          <a:bodyPr anchor="b"/>
          <a:lstStyle>
            <a:lvl1pPr marL="0" indent="0">
              <a:spcBef>
                <a:spcPts val="0"/>
              </a:spcBef>
              <a:buNone/>
              <a:defRPr sz="3150">
                <a:solidFill>
                  <a:schemeClr val="tx2"/>
                </a:solidFill>
                <a:latin typeface="+mj-lt"/>
              </a:defRPr>
            </a:lvl1pPr>
          </a:lstStyle>
          <a:p>
            <a:pPr lvl="0"/>
            <a:r>
              <a:rPr lang="en-US"/>
              <a:t>Heading</a:t>
            </a:r>
          </a:p>
        </p:txBody>
      </p:sp>
      <p:sp>
        <p:nvSpPr>
          <p:cNvPr id="10" name="Text Placeholder 9">
            <a:extLst>
              <a:ext uri="{FF2B5EF4-FFF2-40B4-BE49-F238E27FC236}">
                <a16:creationId xmlns:a16="http://schemas.microsoft.com/office/drawing/2014/main" id="{37CFB753-B7D0-7691-BBDF-851034055F44}"/>
              </a:ext>
            </a:extLst>
          </p:cNvPr>
          <p:cNvSpPr>
            <a:spLocks noGrp="1"/>
          </p:cNvSpPr>
          <p:nvPr>
            <p:ph type="body" sz="quarter" idx="15"/>
          </p:nvPr>
        </p:nvSpPr>
        <p:spPr>
          <a:xfrm>
            <a:off x="763623" y="1304764"/>
            <a:ext cx="8229600" cy="457200"/>
          </a:xfrm>
        </p:spPr>
        <p:txBody>
          <a:bodyPr/>
          <a:lstStyle>
            <a:lvl1pPr marL="0" indent="0">
              <a:buNone/>
              <a:defRPr sz="2400" b="0">
                <a:solidFill>
                  <a:schemeClr val="accent3"/>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173721963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graphic">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C16F05C-4BB9-7C82-C709-68EA2F74B897}"/>
              </a:ext>
            </a:extLst>
          </p:cNvPr>
          <p:cNvSpPr>
            <a:spLocks noGrp="1"/>
          </p:cNvSpPr>
          <p:nvPr>
            <p:ph type="dt" sz="half" idx="10"/>
          </p:nvPr>
        </p:nvSpPr>
        <p:spPr/>
        <p:txBody>
          <a:bodyPr/>
          <a:lstStyle/>
          <a:p>
            <a:fld id="{538BA0BE-9994-4243-B399-F1EA7335824C}" type="datetime1">
              <a:rPr lang="en-US" smtClean="0"/>
              <a:t>4/2/2025</a:t>
            </a:fld>
            <a:endParaRPr lang="en-US"/>
          </a:p>
        </p:txBody>
      </p:sp>
      <p:sp>
        <p:nvSpPr>
          <p:cNvPr id="4" name="Footer Placeholder 3">
            <a:extLst>
              <a:ext uri="{FF2B5EF4-FFF2-40B4-BE49-F238E27FC236}">
                <a16:creationId xmlns:a16="http://schemas.microsoft.com/office/drawing/2014/main" id="{B562C211-B566-11DA-A38D-90605158656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7048A19-F166-EDA1-0B00-A974B424E906}"/>
              </a:ext>
            </a:extLst>
          </p:cNvPr>
          <p:cNvSpPr>
            <a:spLocks noGrp="1"/>
          </p:cNvSpPr>
          <p:nvPr>
            <p:ph type="sldNum" sz="quarter" idx="12"/>
          </p:nvPr>
        </p:nvSpPr>
        <p:spPr/>
        <p:txBody>
          <a:bodyPr/>
          <a:lstStyle/>
          <a:p>
            <a:fld id="{FF7D9A68-EC15-4B1F-850C-8A6CCAFA90D8}" type="slidenum">
              <a:rPr lang="en-US" smtClean="0"/>
              <a:t>‹#›</a:t>
            </a:fld>
            <a:endParaRPr lang="en-US"/>
          </a:p>
        </p:txBody>
      </p:sp>
      <p:sp>
        <p:nvSpPr>
          <p:cNvPr id="6" name="object 24">
            <a:extLst>
              <a:ext uri="{FF2B5EF4-FFF2-40B4-BE49-F238E27FC236}">
                <a16:creationId xmlns:a16="http://schemas.microsoft.com/office/drawing/2014/main" id="{E5F920B2-E5F2-B5E1-9A23-2C5EE88B6F55}"/>
              </a:ext>
            </a:extLst>
          </p:cNvPr>
          <p:cNvSpPr/>
          <p:nvPr userDrawn="1"/>
        </p:nvSpPr>
        <p:spPr>
          <a:xfrm>
            <a:off x="1588" y="343463"/>
            <a:ext cx="152457" cy="6170641"/>
          </a:xfrm>
          <a:custGeom>
            <a:avLst/>
            <a:gdLst/>
            <a:ahLst/>
            <a:cxnLst/>
            <a:rect l="l" t="t" r="r" b="b"/>
            <a:pathLst>
              <a:path w="251460" h="10177780">
                <a:moveTo>
                  <a:pt x="251301" y="0"/>
                </a:moveTo>
                <a:lnTo>
                  <a:pt x="0" y="0"/>
                </a:lnTo>
                <a:lnTo>
                  <a:pt x="0" y="10177700"/>
                </a:lnTo>
                <a:lnTo>
                  <a:pt x="251301" y="10177700"/>
                </a:lnTo>
                <a:lnTo>
                  <a:pt x="251301" y="0"/>
                </a:lnTo>
                <a:close/>
              </a:path>
            </a:pathLst>
          </a:custGeom>
          <a:solidFill>
            <a:schemeClr val="tx2"/>
          </a:solidFill>
        </p:spPr>
        <p:txBody>
          <a:bodyPr wrap="square" lIns="0" tIns="0" rIns="0" bIns="0" rtlCol="0"/>
          <a:lstStyle/>
          <a:p>
            <a:endParaRPr kern="0">
              <a:solidFill>
                <a:sysClr val="windowText" lastClr="000000"/>
              </a:solidFill>
            </a:endParaRPr>
          </a:p>
        </p:txBody>
      </p:sp>
      <p:sp>
        <p:nvSpPr>
          <p:cNvPr id="7" name="Text Placeholder 32">
            <a:extLst>
              <a:ext uri="{FF2B5EF4-FFF2-40B4-BE49-F238E27FC236}">
                <a16:creationId xmlns:a16="http://schemas.microsoft.com/office/drawing/2014/main" id="{76176889-EC90-7074-D8BD-FB8FBFBCB343}"/>
              </a:ext>
            </a:extLst>
          </p:cNvPr>
          <p:cNvSpPr>
            <a:spLocks noGrp="1"/>
          </p:cNvSpPr>
          <p:nvPr>
            <p:ph type="body" sz="quarter" idx="14" hasCustomPrompt="1"/>
          </p:nvPr>
        </p:nvSpPr>
        <p:spPr>
          <a:xfrm>
            <a:off x="763623" y="332656"/>
            <a:ext cx="10972800" cy="914400"/>
          </a:xfrm>
        </p:spPr>
        <p:txBody>
          <a:bodyPr anchor="b"/>
          <a:lstStyle>
            <a:lvl1pPr marL="0" indent="0">
              <a:spcBef>
                <a:spcPts val="0"/>
              </a:spcBef>
              <a:buNone/>
              <a:defRPr sz="3150">
                <a:solidFill>
                  <a:schemeClr val="tx2"/>
                </a:solidFill>
                <a:latin typeface="+mj-lt"/>
              </a:defRPr>
            </a:lvl1pPr>
          </a:lstStyle>
          <a:p>
            <a:pPr lvl="0"/>
            <a:r>
              <a:rPr lang="en-US"/>
              <a:t>Heading</a:t>
            </a:r>
          </a:p>
        </p:txBody>
      </p:sp>
    </p:spTree>
    <p:extLst>
      <p:ext uri="{BB962C8B-B14F-4D97-AF65-F5344CB8AC3E}">
        <p14:creationId xmlns:p14="http://schemas.microsoft.com/office/powerpoint/2010/main" val="24613405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Eyebrow with graphic ">
    <p:bg>
      <p:bgPr>
        <a:solidFill>
          <a:schemeClr val="accent5"/>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C16F05C-4BB9-7C82-C709-68EA2F74B897}"/>
              </a:ext>
            </a:extLst>
          </p:cNvPr>
          <p:cNvSpPr>
            <a:spLocks noGrp="1"/>
          </p:cNvSpPr>
          <p:nvPr>
            <p:ph type="dt" sz="half" idx="10"/>
          </p:nvPr>
        </p:nvSpPr>
        <p:spPr/>
        <p:txBody>
          <a:bodyPr/>
          <a:lstStyle/>
          <a:p>
            <a:fld id="{538BA0BE-9994-4243-B399-F1EA7335824C}" type="datetime1">
              <a:rPr lang="en-US" smtClean="0"/>
              <a:t>4/2/2025</a:t>
            </a:fld>
            <a:endParaRPr lang="en-US"/>
          </a:p>
        </p:txBody>
      </p:sp>
      <p:sp>
        <p:nvSpPr>
          <p:cNvPr id="4" name="Footer Placeholder 3">
            <a:extLst>
              <a:ext uri="{FF2B5EF4-FFF2-40B4-BE49-F238E27FC236}">
                <a16:creationId xmlns:a16="http://schemas.microsoft.com/office/drawing/2014/main" id="{B562C211-B566-11DA-A38D-90605158656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7048A19-F166-EDA1-0B00-A974B424E906}"/>
              </a:ext>
            </a:extLst>
          </p:cNvPr>
          <p:cNvSpPr>
            <a:spLocks noGrp="1"/>
          </p:cNvSpPr>
          <p:nvPr>
            <p:ph type="sldNum" sz="quarter" idx="12"/>
          </p:nvPr>
        </p:nvSpPr>
        <p:spPr/>
        <p:txBody>
          <a:bodyPr/>
          <a:lstStyle/>
          <a:p>
            <a:fld id="{FF7D9A68-EC15-4B1F-850C-8A6CCAFA90D8}" type="slidenum">
              <a:rPr lang="en-US" smtClean="0"/>
              <a:t>‹#›</a:t>
            </a:fld>
            <a:endParaRPr lang="en-US"/>
          </a:p>
        </p:txBody>
      </p:sp>
      <p:sp>
        <p:nvSpPr>
          <p:cNvPr id="6" name="object 24">
            <a:extLst>
              <a:ext uri="{FF2B5EF4-FFF2-40B4-BE49-F238E27FC236}">
                <a16:creationId xmlns:a16="http://schemas.microsoft.com/office/drawing/2014/main" id="{E5F920B2-E5F2-B5E1-9A23-2C5EE88B6F55}"/>
              </a:ext>
            </a:extLst>
          </p:cNvPr>
          <p:cNvSpPr/>
          <p:nvPr userDrawn="1"/>
        </p:nvSpPr>
        <p:spPr>
          <a:xfrm>
            <a:off x="1588" y="343463"/>
            <a:ext cx="152457" cy="6170641"/>
          </a:xfrm>
          <a:custGeom>
            <a:avLst/>
            <a:gdLst/>
            <a:ahLst/>
            <a:cxnLst/>
            <a:rect l="l" t="t" r="r" b="b"/>
            <a:pathLst>
              <a:path w="251460" h="10177780">
                <a:moveTo>
                  <a:pt x="251301" y="0"/>
                </a:moveTo>
                <a:lnTo>
                  <a:pt x="0" y="0"/>
                </a:lnTo>
                <a:lnTo>
                  <a:pt x="0" y="10177700"/>
                </a:lnTo>
                <a:lnTo>
                  <a:pt x="251301" y="10177700"/>
                </a:lnTo>
                <a:lnTo>
                  <a:pt x="251301" y="0"/>
                </a:lnTo>
                <a:close/>
              </a:path>
            </a:pathLst>
          </a:custGeom>
          <a:solidFill>
            <a:schemeClr val="tx2"/>
          </a:solidFill>
        </p:spPr>
        <p:txBody>
          <a:bodyPr wrap="square" lIns="0" tIns="0" rIns="0" bIns="0" rtlCol="0"/>
          <a:lstStyle/>
          <a:p>
            <a:endParaRPr kern="0">
              <a:solidFill>
                <a:sysClr val="windowText" lastClr="000000"/>
              </a:solidFill>
            </a:endParaRPr>
          </a:p>
        </p:txBody>
      </p:sp>
      <p:sp>
        <p:nvSpPr>
          <p:cNvPr id="7" name="Text Placeholder 32">
            <a:extLst>
              <a:ext uri="{FF2B5EF4-FFF2-40B4-BE49-F238E27FC236}">
                <a16:creationId xmlns:a16="http://schemas.microsoft.com/office/drawing/2014/main" id="{76176889-EC90-7074-D8BD-FB8FBFBCB343}"/>
              </a:ext>
            </a:extLst>
          </p:cNvPr>
          <p:cNvSpPr>
            <a:spLocks noGrp="1"/>
          </p:cNvSpPr>
          <p:nvPr>
            <p:ph type="body" sz="quarter" idx="14" hasCustomPrompt="1"/>
          </p:nvPr>
        </p:nvSpPr>
        <p:spPr>
          <a:xfrm>
            <a:off x="763623" y="789856"/>
            <a:ext cx="10972800" cy="457200"/>
          </a:xfrm>
        </p:spPr>
        <p:txBody>
          <a:bodyPr anchor="b"/>
          <a:lstStyle>
            <a:lvl1pPr marL="0" indent="0">
              <a:spcBef>
                <a:spcPts val="0"/>
              </a:spcBef>
              <a:buNone/>
              <a:defRPr sz="3150">
                <a:solidFill>
                  <a:schemeClr val="tx2"/>
                </a:solidFill>
                <a:latin typeface="+mj-lt"/>
              </a:defRPr>
            </a:lvl1pPr>
          </a:lstStyle>
          <a:p>
            <a:pPr lvl="0"/>
            <a:r>
              <a:rPr lang="en-US"/>
              <a:t>Heading</a:t>
            </a:r>
          </a:p>
        </p:txBody>
      </p:sp>
      <p:sp>
        <p:nvSpPr>
          <p:cNvPr id="2" name="Text Placeholder 9">
            <a:extLst>
              <a:ext uri="{FF2B5EF4-FFF2-40B4-BE49-F238E27FC236}">
                <a16:creationId xmlns:a16="http://schemas.microsoft.com/office/drawing/2014/main" id="{892A23AA-62D6-9D6B-93E6-E42206E7374A}"/>
              </a:ext>
            </a:extLst>
          </p:cNvPr>
          <p:cNvSpPr>
            <a:spLocks noGrp="1"/>
          </p:cNvSpPr>
          <p:nvPr>
            <p:ph type="body" sz="quarter" idx="15"/>
          </p:nvPr>
        </p:nvSpPr>
        <p:spPr>
          <a:xfrm>
            <a:off x="763623" y="332656"/>
            <a:ext cx="10972800" cy="457200"/>
          </a:xfrm>
        </p:spPr>
        <p:txBody>
          <a:bodyPr/>
          <a:lstStyle>
            <a:lvl1pPr marL="0" indent="0">
              <a:buNone/>
              <a:defRPr sz="2400" b="0">
                <a:solidFill>
                  <a:schemeClr val="accent3"/>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11" name="TextBox 10">
            <a:extLst>
              <a:ext uri="{FF2B5EF4-FFF2-40B4-BE49-F238E27FC236}">
                <a16:creationId xmlns:a16="http://schemas.microsoft.com/office/drawing/2014/main" id="{437A0527-FC75-E8BC-4C4C-047D9B5645A8}"/>
              </a:ext>
            </a:extLst>
          </p:cNvPr>
          <p:cNvSpPr txBox="1"/>
          <p:nvPr userDrawn="1"/>
        </p:nvSpPr>
        <p:spPr>
          <a:xfrm>
            <a:off x="10099343" y="6018663"/>
            <a:ext cx="1412544" cy="600501"/>
          </a:xfrm>
          <a:prstGeom prst="rect">
            <a:avLst/>
          </a:prstGeom>
          <a:solidFill>
            <a:schemeClr val="bg2"/>
          </a:solidFill>
        </p:spPr>
        <p:txBody>
          <a:bodyPr wrap="square" lIns="0" tIns="0" rIns="0" bIns="0" rtlCol="0">
            <a:spAutoFit/>
          </a:bodyPr>
          <a:lstStyle/>
          <a:p>
            <a:pPr algn="l"/>
            <a:endParaRPr lang="en-US" sz="1580" b="1">
              <a:solidFill>
                <a:srgbClr val="FBFBEF"/>
              </a:solidFill>
              <a:latin typeface="Real Head Pro Extrabold"/>
              <a:cs typeface="Real Head Pro Extrabold"/>
            </a:endParaRPr>
          </a:p>
        </p:txBody>
      </p:sp>
      <p:pic>
        <p:nvPicPr>
          <p:cNvPr id="12" name="Picture 11" descr="Logo&#10;&#10;Description automatically generated">
            <a:extLst>
              <a:ext uri="{FF2B5EF4-FFF2-40B4-BE49-F238E27FC236}">
                <a16:creationId xmlns:a16="http://schemas.microsoft.com/office/drawing/2014/main" id="{FCED46DF-13B3-FBAC-1025-9E788C88BFF3}"/>
              </a:ext>
            </a:extLst>
          </p:cNvPr>
          <p:cNvPicPr>
            <a:picLocks noChangeAspect="1"/>
          </p:cNvPicPr>
          <p:nvPr userDrawn="1"/>
        </p:nvPicPr>
        <p:blipFill>
          <a:blip r:embed="rId2">
            <a:extLst>
              <a:ext uri="{28A0092B-C50C-407E-A947-70E740481C1C}">
                <a14:useLocalDpi xmlns:a14="http://schemas.microsoft.com/office/drawing/2010/main" val="0"/>
              </a:ext>
            </a:extLst>
          </a:blip>
          <a:srcRect b="33785"/>
          <a:stretch/>
        </p:blipFill>
        <p:spPr>
          <a:xfrm>
            <a:off x="10865588" y="6318685"/>
            <a:ext cx="534466" cy="146304"/>
          </a:xfrm>
          <a:prstGeom prst="rect">
            <a:avLst/>
          </a:prstGeom>
        </p:spPr>
      </p:pic>
      <p:pic>
        <p:nvPicPr>
          <p:cNvPr id="13" name="Picture 12" descr="A picture containing logo&#10;&#10;Description automatically generated">
            <a:extLst>
              <a:ext uri="{FF2B5EF4-FFF2-40B4-BE49-F238E27FC236}">
                <a16:creationId xmlns:a16="http://schemas.microsoft.com/office/drawing/2014/main" id="{6A3DD813-9F3A-D834-DCD7-FA625DCA7E05}"/>
              </a:ext>
            </a:extLst>
          </p:cNvPr>
          <p:cNvPicPr>
            <a:picLocks noChangeAspect="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50298" t="20056" r="1745" b="23490"/>
          <a:stretch/>
        </p:blipFill>
        <p:spPr>
          <a:xfrm>
            <a:off x="9599339" y="6295897"/>
            <a:ext cx="1063359" cy="201168"/>
          </a:xfrm>
          <a:prstGeom prst="rect">
            <a:avLst/>
          </a:prstGeom>
        </p:spPr>
      </p:pic>
      <p:cxnSp>
        <p:nvCxnSpPr>
          <p:cNvPr id="14" name="Straight Connector 13">
            <a:extLst>
              <a:ext uri="{FF2B5EF4-FFF2-40B4-BE49-F238E27FC236}">
                <a16:creationId xmlns:a16="http://schemas.microsoft.com/office/drawing/2014/main" id="{ED231AAE-CABF-A664-D369-F47290A55552}"/>
              </a:ext>
            </a:extLst>
          </p:cNvPr>
          <p:cNvCxnSpPr/>
          <p:nvPr userDrawn="1"/>
        </p:nvCxnSpPr>
        <p:spPr>
          <a:xfrm>
            <a:off x="10776142" y="6251940"/>
            <a:ext cx="0" cy="320040"/>
          </a:xfrm>
          <a:prstGeom prst="line">
            <a:avLst/>
          </a:prstGeom>
          <a:ln w="6350">
            <a:solidFill>
              <a:schemeClr val="accent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719342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F42569B-14C1-480A-826C-27D70A3288BE}" type="datetimeFigureOut">
              <a:rPr lang="en-US" smtClean="0"/>
              <a:t>4/2/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B05F229-852D-4A77-95BA-3D996206520B}" type="slidenum">
              <a:rPr lang="en-US" smtClean="0"/>
              <a:t>‹#›</a:t>
            </a:fld>
            <a:endParaRPr lang="en-US"/>
          </a:p>
        </p:txBody>
      </p:sp>
    </p:spTree>
    <p:extLst>
      <p:ext uri="{BB962C8B-B14F-4D97-AF65-F5344CB8AC3E}">
        <p14:creationId xmlns:p14="http://schemas.microsoft.com/office/powerpoint/2010/main" val="305780665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and Eyebrow with graphic Dark">
    <p:bg>
      <p:bgPr>
        <a:solidFill>
          <a:schemeClr val="tx2"/>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C16F05C-4BB9-7C82-C709-68EA2F74B897}"/>
              </a:ext>
            </a:extLst>
          </p:cNvPr>
          <p:cNvSpPr>
            <a:spLocks noGrp="1"/>
          </p:cNvSpPr>
          <p:nvPr>
            <p:ph type="dt" sz="half" idx="10"/>
          </p:nvPr>
        </p:nvSpPr>
        <p:spPr/>
        <p:txBody>
          <a:bodyPr/>
          <a:lstStyle/>
          <a:p>
            <a:fld id="{538BA0BE-9994-4243-B399-F1EA7335824C}" type="datetime1">
              <a:rPr lang="en-US" smtClean="0"/>
              <a:t>4/2/2025</a:t>
            </a:fld>
            <a:endParaRPr lang="en-US"/>
          </a:p>
        </p:txBody>
      </p:sp>
      <p:sp>
        <p:nvSpPr>
          <p:cNvPr id="4" name="Footer Placeholder 3">
            <a:extLst>
              <a:ext uri="{FF2B5EF4-FFF2-40B4-BE49-F238E27FC236}">
                <a16:creationId xmlns:a16="http://schemas.microsoft.com/office/drawing/2014/main" id="{B562C211-B566-11DA-A38D-906051586563}"/>
              </a:ext>
            </a:extLst>
          </p:cNvPr>
          <p:cNvSpPr>
            <a:spLocks noGrp="1"/>
          </p:cNvSpPr>
          <p:nvPr>
            <p:ph type="ftr" sz="quarter" idx="11"/>
          </p:nvPr>
        </p:nvSpPr>
        <p:spPr/>
        <p:txBody>
          <a:bodyPr/>
          <a:lstStyle/>
          <a:p>
            <a:endParaRPr lang="en-US"/>
          </a:p>
        </p:txBody>
      </p:sp>
      <p:sp>
        <p:nvSpPr>
          <p:cNvPr id="6" name="object 24">
            <a:extLst>
              <a:ext uri="{FF2B5EF4-FFF2-40B4-BE49-F238E27FC236}">
                <a16:creationId xmlns:a16="http://schemas.microsoft.com/office/drawing/2014/main" id="{E5F920B2-E5F2-B5E1-9A23-2C5EE88B6F55}"/>
              </a:ext>
            </a:extLst>
          </p:cNvPr>
          <p:cNvSpPr/>
          <p:nvPr userDrawn="1"/>
        </p:nvSpPr>
        <p:spPr>
          <a:xfrm>
            <a:off x="1588" y="343463"/>
            <a:ext cx="152457" cy="6170641"/>
          </a:xfrm>
          <a:custGeom>
            <a:avLst/>
            <a:gdLst/>
            <a:ahLst/>
            <a:cxnLst/>
            <a:rect l="l" t="t" r="r" b="b"/>
            <a:pathLst>
              <a:path w="251460" h="10177780">
                <a:moveTo>
                  <a:pt x="251301" y="0"/>
                </a:moveTo>
                <a:lnTo>
                  <a:pt x="0" y="0"/>
                </a:lnTo>
                <a:lnTo>
                  <a:pt x="0" y="10177700"/>
                </a:lnTo>
                <a:lnTo>
                  <a:pt x="251301" y="10177700"/>
                </a:lnTo>
                <a:lnTo>
                  <a:pt x="251301" y="0"/>
                </a:lnTo>
                <a:close/>
              </a:path>
            </a:pathLst>
          </a:custGeom>
          <a:solidFill>
            <a:schemeClr val="accent4"/>
          </a:solidFill>
        </p:spPr>
        <p:txBody>
          <a:bodyPr wrap="square" lIns="0" tIns="0" rIns="0" bIns="0" rtlCol="0"/>
          <a:lstStyle/>
          <a:p>
            <a:endParaRPr kern="0">
              <a:solidFill>
                <a:sysClr val="windowText" lastClr="000000"/>
              </a:solidFill>
            </a:endParaRPr>
          </a:p>
        </p:txBody>
      </p:sp>
      <p:sp>
        <p:nvSpPr>
          <p:cNvPr id="7" name="Text Placeholder 32">
            <a:extLst>
              <a:ext uri="{FF2B5EF4-FFF2-40B4-BE49-F238E27FC236}">
                <a16:creationId xmlns:a16="http://schemas.microsoft.com/office/drawing/2014/main" id="{76176889-EC90-7074-D8BD-FB8FBFBCB343}"/>
              </a:ext>
            </a:extLst>
          </p:cNvPr>
          <p:cNvSpPr>
            <a:spLocks noGrp="1"/>
          </p:cNvSpPr>
          <p:nvPr>
            <p:ph type="body" sz="quarter" idx="14" hasCustomPrompt="1"/>
          </p:nvPr>
        </p:nvSpPr>
        <p:spPr>
          <a:xfrm>
            <a:off x="763623" y="789856"/>
            <a:ext cx="10972800" cy="457200"/>
          </a:xfrm>
        </p:spPr>
        <p:txBody>
          <a:bodyPr anchor="b"/>
          <a:lstStyle>
            <a:lvl1pPr marL="0" indent="0">
              <a:spcBef>
                <a:spcPts val="0"/>
              </a:spcBef>
              <a:buNone/>
              <a:defRPr sz="3150">
                <a:solidFill>
                  <a:schemeClr val="bg2"/>
                </a:solidFill>
                <a:latin typeface="+mj-lt"/>
              </a:defRPr>
            </a:lvl1pPr>
          </a:lstStyle>
          <a:p>
            <a:pPr lvl="0"/>
            <a:r>
              <a:rPr lang="en-US"/>
              <a:t>Heading</a:t>
            </a:r>
          </a:p>
        </p:txBody>
      </p:sp>
      <p:sp>
        <p:nvSpPr>
          <p:cNvPr id="2" name="Text Placeholder 9">
            <a:extLst>
              <a:ext uri="{FF2B5EF4-FFF2-40B4-BE49-F238E27FC236}">
                <a16:creationId xmlns:a16="http://schemas.microsoft.com/office/drawing/2014/main" id="{892A23AA-62D6-9D6B-93E6-E42206E7374A}"/>
              </a:ext>
            </a:extLst>
          </p:cNvPr>
          <p:cNvSpPr>
            <a:spLocks noGrp="1"/>
          </p:cNvSpPr>
          <p:nvPr>
            <p:ph type="body" sz="quarter" idx="15"/>
          </p:nvPr>
        </p:nvSpPr>
        <p:spPr>
          <a:xfrm>
            <a:off x="763623" y="332656"/>
            <a:ext cx="10972800" cy="457200"/>
          </a:xfrm>
        </p:spPr>
        <p:txBody>
          <a:bodyPr/>
          <a:lstStyle>
            <a:lvl1pPr marL="0" indent="0">
              <a:buNone/>
              <a:defRPr sz="2400" b="0">
                <a:solidFill>
                  <a:schemeClr val="accent3"/>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8" name="Slide Number Box">
            <a:extLst>
              <a:ext uri="{FF2B5EF4-FFF2-40B4-BE49-F238E27FC236}">
                <a16:creationId xmlns:a16="http://schemas.microsoft.com/office/drawing/2014/main" id="{3DEAF9C8-A147-CF7A-E52D-4E24427CD53E}"/>
              </a:ext>
            </a:extLst>
          </p:cNvPr>
          <p:cNvSpPr txBox="1"/>
          <p:nvPr userDrawn="1"/>
        </p:nvSpPr>
        <p:spPr>
          <a:xfrm>
            <a:off x="11566535" y="6234575"/>
            <a:ext cx="279503" cy="283464"/>
          </a:xfrm>
          <a:prstGeom prst="rect">
            <a:avLst/>
          </a:prstGeom>
          <a:solidFill>
            <a:srgbClr val="FFD700"/>
          </a:solidFill>
        </p:spPr>
        <p:txBody>
          <a:bodyPr vert="horz" wrap="square" lIns="0" tIns="38884" rIns="0" bIns="0" rtlCol="0">
            <a:spAutoFit/>
          </a:bodyPr>
          <a:lstStyle/>
          <a:p>
            <a:pPr marL="55825" algn="ctr">
              <a:spcBef>
                <a:spcPts val="306"/>
              </a:spcBef>
            </a:pPr>
            <a:endParaRPr sz="1182">
              <a:latin typeface="Real Head Pro"/>
              <a:cs typeface="Real Head Pro"/>
            </a:endParaRPr>
          </a:p>
        </p:txBody>
      </p:sp>
      <p:sp>
        <p:nvSpPr>
          <p:cNvPr id="9" name="Slide Number Placeholder 4">
            <a:extLst>
              <a:ext uri="{FF2B5EF4-FFF2-40B4-BE49-F238E27FC236}">
                <a16:creationId xmlns:a16="http://schemas.microsoft.com/office/drawing/2014/main" id="{99D35B03-F698-8885-EB71-3D77B4BA4EE2}"/>
              </a:ext>
            </a:extLst>
          </p:cNvPr>
          <p:cNvSpPr>
            <a:spLocks noGrp="1"/>
          </p:cNvSpPr>
          <p:nvPr>
            <p:ph type="sldNum" sz="quarter" idx="12"/>
          </p:nvPr>
        </p:nvSpPr>
        <p:spPr>
          <a:xfrm>
            <a:off x="11562574" y="6234576"/>
            <a:ext cx="283464" cy="283464"/>
          </a:xfrm>
        </p:spPr>
        <p:txBody>
          <a:bodyPr/>
          <a:lstStyle/>
          <a:p>
            <a:fld id="{FF7D9A68-EC15-4B1F-850C-8A6CCAFA90D8}" type="slidenum">
              <a:rPr lang="en-US" smtClean="0"/>
              <a:pPr/>
              <a:t>‹#›</a:t>
            </a:fld>
            <a:endParaRPr lang="en-US"/>
          </a:p>
        </p:txBody>
      </p:sp>
      <p:sp>
        <p:nvSpPr>
          <p:cNvPr id="31" name="Slide Number Placeholder 4">
            <a:extLst>
              <a:ext uri="{FF2B5EF4-FFF2-40B4-BE49-F238E27FC236}">
                <a16:creationId xmlns:a16="http://schemas.microsoft.com/office/drawing/2014/main" id="{2B22392B-76DC-FD90-612E-48811F402E79}"/>
              </a:ext>
            </a:extLst>
          </p:cNvPr>
          <p:cNvSpPr txBox="1">
            <a:spLocks/>
          </p:cNvSpPr>
          <p:nvPr userDrawn="1"/>
        </p:nvSpPr>
        <p:spPr>
          <a:xfrm>
            <a:off x="11562574" y="6234576"/>
            <a:ext cx="283464" cy="283464"/>
          </a:xfrm>
          <a:prstGeom prst="rect">
            <a:avLst/>
          </a:prstGeom>
        </p:spPr>
        <p:txBody>
          <a:bodyPr vert="horz" wrap="none" lIns="0" tIns="0" rIns="0" bIns="0" rtlCol="0" anchor="ctr"/>
          <a:lstStyle>
            <a:defPPr>
              <a:defRPr lang="en-US"/>
            </a:defPPr>
            <a:lvl1pPr marL="0" algn="ctr" defTabSz="914400" rtl="0" eaLnBrk="1" latinLnBrk="0" hangingPunct="1">
              <a:defRPr sz="1180" b="1" kern="1200">
                <a:solidFill>
                  <a:schemeClr val="tx1">
                    <a:tint val="82000"/>
                  </a:schemeClr>
                </a:solidFill>
                <a:latin typeface="Real Head Pro" panose="020B05040202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pic>
        <p:nvPicPr>
          <p:cNvPr id="32" name="Graphic 31">
            <a:extLst>
              <a:ext uri="{FF2B5EF4-FFF2-40B4-BE49-F238E27FC236}">
                <a16:creationId xmlns:a16="http://schemas.microsoft.com/office/drawing/2014/main" id="{A8CDBF50-22E5-1C20-DA6F-5FD6F4F072D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55910" y="6285404"/>
            <a:ext cx="706755" cy="192024"/>
          </a:xfrm>
          <a:prstGeom prst="rect">
            <a:avLst/>
          </a:prstGeom>
        </p:spPr>
      </p:pic>
    </p:spTree>
    <p:extLst>
      <p:ext uri="{BB962C8B-B14F-4D97-AF65-F5344CB8AC3E}">
        <p14:creationId xmlns:p14="http://schemas.microsoft.com/office/powerpoint/2010/main" val="279501769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ubtitle and graphic - Dark">
    <p:bg>
      <p:bgPr>
        <a:solidFill>
          <a:schemeClr val="tx2"/>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C16F05C-4BB9-7C82-C709-68EA2F74B897}"/>
              </a:ext>
            </a:extLst>
          </p:cNvPr>
          <p:cNvSpPr>
            <a:spLocks noGrp="1"/>
          </p:cNvSpPr>
          <p:nvPr>
            <p:ph type="dt" sz="half" idx="10"/>
          </p:nvPr>
        </p:nvSpPr>
        <p:spPr/>
        <p:txBody>
          <a:bodyPr/>
          <a:lstStyle/>
          <a:p>
            <a:fld id="{538BA0BE-9994-4243-B399-F1EA7335824C}" type="datetime1">
              <a:rPr lang="en-US" smtClean="0"/>
              <a:t>4/2/2025</a:t>
            </a:fld>
            <a:endParaRPr lang="en-US"/>
          </a:p>
        </p:txBody>
      </p:sp>
      <p:sp>
        <p:nvSpPr>
          <p:cNvPr id="4" name="Footer Placeholder 3">
            <a:extLst>
              <a:ext uri="{FF2B5EF4-FFF2-40B4-BE49-F238E27FC236}">
                <a16:creationId xmlns:a16="http://schemas.microsoft.com/office/drawing/2014/main" id="{B562C211-B566-11DA-A38D-906051586563}"/>
              </a:ext>
            </a:extLst>
          </p:cNvPr>
          <p:cNvSpPr>
            <a:spLocks noGrp="1"/>
          </p:cNvSpPr>
          <p:nvPr>
            <p:ph type="ftr" sz="quarter" idx="11"/>
          </p:nvPr>
        </p:nvSpPr>
        <p:spPr/>
        <p:txBody>
          <a:bodyPr/>
          <a:lstStyle/>
          <a:p>
            <a:endParaRPr lang="en-US"/>
          </a:p>
        </p:txBody>
      </p:sp>
      <p:sp>
        <p:nvSpPr>
          <p:cNvPr id="6" name="object 24">
            <a:extLst>
              <a:ext uri="{FF2B5EF4-FFF2-40B4-BE49-F238E27FC236}">
                <a16:creationId xmlns:a16="http://schemas.microsoft.com/office/drawing/2014/main" id="{E5F920B2-E5F2-B5E1-9A23-2C5EE88B6F55}"/>
              </a:ext>
            </a:extLst>
          </p:cNvPr>
          <p:cNvSpPr/>
          <p:nvPr userDrawn="1"/>
        </p:nvSpPr>
        <p:spPr>
          <a:xfrm>
            <a:off x="1588" y="343463"/>
            <a:ext cx="152457" cy="6170641"/>
          </a:xfrm>
          <a:custGeom>
            <a:avLst/>
            <a:gdLst/>
            <a:ahLst/>
            <a:cxnLst/>
            <a:rect l="l" t="t" r="r" b="b"/>
            <a:pathLst>
              <a:path w="251460" h="10177780">
                <a:moveTo>
                  <a:pt x="251301" y="0"/>
                </a:moveTo>
                <a:lnTo>
                  <a:pt x="0" y="0"/>
                </a:lnTo>
                <a:lnTo>
                  <a:pt x="0" y="10177700"/>
                </a:lnTo>
                <a:lnTo>
                  <a:pt x="251301" y="10177700"/>
                </a:lnTo>
                <a:lnTo>
                  <a:pt x="251301" y="0"/>
                </a:lnTo>
                <a:close/>
              </a:path>
            </a:pathLst>
          </a:custGeom>
          <a:solidFill>
            <a:schemeClr val="accent3"/>
          </a:solidFill>
        </p:spPr>
        <p:txBody>
          <a:bodyPr wrap="square" lIns="0" tIns="0" rIns="0" bIns="0" rtlCol="0"/>
          <a:lstStyle/>
          <a:p>
            <a:endParaRPr kern="0">
              <a:solidFill>
                <a:sysClr val="windowText" lastClr="000000"/>
              </a:solidFill>
            </a:endParaRPr>
          </a:p>
        </p:txBody>
      </p:sp>
      <p:sp>
        <p:nvSpPr>
          <p:cNvPr id="7" name="Text Placeholder 32">
            <a:extLst>
              <a:ext uri="{FF2B5EF4-FFF2-40B4-BE49-F238E27FC236}">
                <a16:creationId xmlns:a16="http://schemas.microsoft.com/office/drawing/2014/main" id="{76176889-EC90-7074-D8BD-FB8FBFBCB343}"/>
              </a:ext>
            </a:extLst>
          </p:cNvPr>
          <p:cNvSpPr>
            <a:spLocks noGrp="1"/>
          </p:cNvSpPr>
          <p:nvPr>
            <p:ph type="body" sz="quarter" idx="14" hasCustomPrompt="1"/>
          </p:nvPr>
        </p:nvSpPr>
        <p:spPr>
          <a:xfrm>
            <a:off x="763623" y="332656"/>
            <a:ext cx="8229600" cy="914400"/>
          </a:xfrm>
        </p:spPr>
        <p:txBody>
          <a:bodyPr anchor="b"/>
          <a:lstStyle>
            <a:lvl1pPr marL="0" indent="0">
              <a:spcBef>
                <a:spcPts val="0"/>
              </a:spcBef>
              <a:buNone/>
              <a:defRPr sz="3150">
                <a:solidFill>
                  <a:schemeClr val="bg1"/>
                </a:solidFill>
                <a:latin typeface="+mj-lt"/>
              </a:defRPr>
            </a:lvl1pPr>
          </a:lstStyle>
          <a:p>
            <a:pPr lvl="0"/>
            <a:r>
              <a:rPr lang="en-US"/>
              <a:t>Heading</a:t>
            </a:r>
          </a:p>
        </p:txBody>
      </p:sp>
      <p:sp>
        <p:nvSpPr>
          <p:cNvPr id="10" name="Text Placeholder 9">
            <a:extLst>
              <a:ext uri="{FF2B5EF4-FFF2-40B4-BE49-F238E27FC236}">
                <a16:creationId xmlns:a16="http://schemas.microsoft.com/office/drawing/2014/main" id="{37CFB753-B7D0-7691-BBDF-851034055F44}"/>
              </a:ext>
            </a:extLst>
          </p:cNvPr>
          <p:cNvSpPr>
            <a:spLocks noGrp="1"/>
          </p:cNvSpPr>
          <p:nvPr>
            <p:ph type="body" sz="quarter" idx="15"/>
          </p:nvPr>
        </p:nvSpPr>
        <p:spPr>
          <a:xfrm>
            <a:off x="763623" y="1304764"/>
            <a:ext cx="8229600" cy="457200"/>
          </a:xfrm>
        </p:spPr>
        <p:txBody>
          <a:bodyPr/>
          <a:lstStyle>
            <a:lvl1pPr marL="0" indent="0">
              <a:buNone/>
              <a:defRPr sz="2400" b="0">
                <a:solidFill>
                  <a:schemeClr val="accent3"/>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5" name="Page Number">
            <a:extLst>
              <a:ext uri="{FF2B5EF4-FFF2-40B4-BE49-F238E27FC236}">
                <a16:creationId xmlns:a16="http://schemas.microsoft.com/office/drawing/2014/main" id="{C058A928-1159-1AC7-2E78-0F07EB6FB318}"/>
              </a:ext>
            </a:extLst>
          </p:cNvPr>
          <p:cNvSpPr txBox="1"/>
          <p:nvPr userDrawn="1"/>
        </p:nvSpPr>
        <p:spPr>
          <a:xfrm>
            <a:off x="11566535" y="6234575"/>
            <a:ext cx="279503" cy="283464"/>
          </a:xfrm>
          <a:prstGeom prst="rect">
            <a:avLst/>
          </a:prstGeom>
          <a:solidFill>
            <a:srgbClr val="FFD700"/>
          </a:solidFill>
        </p:spPr>
        <p:txBody>
          <a:bodyPr vert="horz" wrap="square" lIns="0" tIns="38884" rIns="0" bIns="0" rtlCol="0">
            <a:spAutoFit/>
          </a:bodyPr>
          <a:lstStyle/>
          <a:p>
            <a:pPr marL="55825" algn="ctr">
              <a:spcBef>
                <a:spcPts val="306"/>
              </a:spcBef>
            </a:pPr>
            <a:endParaRPr sz="1182">
              <a:latin typeface="Real Head Pro"/>
              <a:cs typeface="Real Head Pro"/>
            </a:endParaRPr>
          </a:p>
        </p:txBody>
      </p:sp>
      <p:sp>
        <p:nvSpPr>
          <p:cNvPr id="11" name="Slide Number Placeholder 3">
            <a:extLst>
              <a:ext uri="{FF2B5EF4-FFF2-40B4-BE49-F238E27FC236}">
                <a16:creationId xmlns:a16="http://schemas.microsoft.com/office/drawing/2014/main" id="{1CF24E0A-0407-4FCB-F262-9EB2067D4B72}"/>
              </a:ext>
            </a:extLst>
          </p:cNvPr>
          <p:cNvSpPr>
            <a:spLocks noGrp="1"/>
          </p:cNvSpPr>
          <p:nvPr>
            <p:ph type="sldNum" sz="quarter" idx="12"/>
          </p:nvPr>
        </p:nvSpPr>
        <p:spPr>
          <a:xfrm>
            <a:off x="11562574" y="6234576"/>
            <a:ext cx="283464" cy="283464"/>
          </a:xfrm>
        </p:spPr>
        <p:txBody>
          <a:bodyPr/>
          <a:lstStyle/>
          <a:p>
            <a:fld id="{FF7D9A68-EC15-4B1F-850C-8A6CCAFA90D8}" type="slidenum">
              <a:rPr lang="en-US" smtClean="0"/>
              <a:t>‹#›</a:t>
            </a:fld>
            <a:endParaRPr lang="en-US"/>
          </a:p>
        </p:txBody>
      </p:sp>
      <p:grpSp>
        <p:nvGrpSpPr>
          <p:cNvPr id="12" name="Group 11">
            <a:extLst>
              <a:ext uri="{FF2B5EF4-FFF2-40B4-BE49-F238E27FC236}">
                <a16:creationId xmlns:a16="http://schemas.microsoft.com/office/drawing/2014/main" id="{D8B602C4-B823-DCD6-A942-F643E71F668B}"/>
              </a:ext>
            </a:extLst>
          </p:cNvPr>
          <p:cNvGrpSpPr>
            <a:grpSpLocks noChangeAspect="1"/>
          </p:cNvGrpSpPr>
          <p:nvPr userDrawn="1"/>
        </p:nvGrpSpPr>
        <p:grpSpPr>
          <a:xfrm>
            <a:off x="9560283" y="6247999"/>
            <a:ext cx="1869482" cy="292608"/>
            <a:chOff x="9444187" y="508520"/>
            <a:chExt cx="2339198" cy="366127"/>
          </a:xfrm>
        </p:grpSpPr>
        <p:pic>
          <p:nvPicPr>
            <p:cNvPr id="13" name="object 4">
              <a:extLst>
                <a:ext uri="{FF2B5EF4-FFF2-40B4-BE49-F238E27FC236}">
                  <a16:creationId xmlns:a16="http://schemas.microsoft.com/office/drawing/2014/main" id="{AA0E9D22-FB93-B2DA-4C8B-7E2FA2072A86}"/>
                </a:ext>
              </a:extLst>
            </p:cNvPr>
            <p:cNvPicPr/>
            <p:nvPr/>
          </p:nvPicPr>
          <p:blipFill>
            <a:blip r:embed="rId2" cstate="print"/>
            <a:stretch>
              <a:fillRect/>
            </a:stretch>
          </p:blipFill>
          <p:spPr>
            <a:xfrm>
              <a:off x="9444187" y="568546"/>
              <a:ext cx="1372592" cy="246070"/>
            </a:xfrm>
            <a:prstGeom prst="rect">
              <a:avLst/>
            </a:prstGeom>
          </p:spPr>
        </p:pic>
        <p:sp>
          <p:nvSpPr>
            <p:cNvPr id="14" name="object 10">
              <a:extLst>
                <a:ext uri="{FF2B5EF4-FFF2-40B4-BE49-F238E27FC236}">
                  <a16:creationId xmlns:a16="http://schemas.microsoft.com/office/drawing/2014/main" id="{D0733F1A-F3A7-8091-5E09-9233E93D14D7}"/>
                </a:ext>
              </a:extLst>
            </p:cNvPr>
            <p:cNvSpPr/>
            <p:nvPr/>
          </p:nvSpPr>
          <p:spPr>
            <a:xfrm>
              <a:off x="10956631" y="508520"/>
              <a:ext cx="0" cy="366127"/>
            </a:xfrm>
            <a:custGeom>
              <a:avLst/>
              <a:gdLst/>
              <a:ahLst/>
              <a:cxnLst/>
              <a:rect l="l" t="t" r="r" b="b"/>
              <a:pathLst>
                <a:path h="603885">
                  <a:moveTo>
                    <a:pt x="0" y="0"/>
                  </a:moveTo>
                  <a:lnTo>
                    <a:pt x="0" y="603876"/>
                  </a:lnTo>
                </a:path>
              </a:pathLst>
            </a:custGeom>
            <a:ln w="8481">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Real Text Pro"/>
                <a:ea typeface="+mn-ea"/>
                <a:cs typeface="+mn-cs"/>
              </a:endParaRPr>
            </a:p>
          </p:txBody>
        </p:sp>
        <p:pic>
          <p:nvPicPr>
            <p:cNvPr id="15" name="object 24">
              <a:extLst>
                <a:ext uri="{FF2B5EF4-FFF2-40B4-BE49-F238E27FC236}">
                  <a16:creationId xmlns:a16="http://schemas.microsoft.com/office/drawing/2014/main" id="{BE74952D-C4EE-3B95-9D52-F3C8510D302C}"/>
                </a:ext>
              </a:extLst>
            </p:cNvPr>
            <p:cNvPicPr/>
            <p:nvPr/>
          </p:nvPicPr>
          <p:blipFill>
            <a:blip r:embed="rId3" cstate="print"/>
            <a:srcRect t="2" r="8299" b="42551"/>
            <a:stretch/>
          </p:blipFill>
          <p:spPr>
            <a:xfrm>
              <a:off x="11109501" y="589948"/>
              <a:ext cx="673884" cy="185327"/>
            </a:xfrm>
            <a:prstGeom prst="rect">
              <a:avLst/>
            </a:prstGeom>
          </p:spPr>
        </p:pic>
      </p:grpSp>
    </p:spTree>
    <p:extLst>
      <p:ext uri="{BB962C8B-B14F-4D97-AF65-F5344CB8AC3E}">
        <p14:creationId xmlns:p14="http://schemas.microsoft.com/office/powerpoint/2010/main" val="23077517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ubtitle and Image dark background">
    <p:bg>
      <p:bgPr>
        <a:solidFill>
          <a:schemeClr val="accent1"/>
        </a:solidFill>
        <a:effectLst/>
      </p:bgPr>
    </p:bg>
    <p:spTree>
      <p:nvGrpSpPr>
        <p:cNvPr id="1" name=""/>
        <p:cNvGrpSpPr/>
        <p:nvPr/>
      </p:nvGrpSpPr>
      <p:grpSpPr>
        <a:xfrm>
          <a:off x="0" y="0"/>
          <a:ext cx="0" cy="0"/>
          <a:chOff x="0" y="0"/>
          <a:chExt cx="0" cy="0"/>
        </a:xfrm>
      </p:grpSpPr>
      <p:pic>
        <p:nvPicPr>
          <p:cNvPr id="5" name="Picture 4" descr="A machine with a blue circular object&#10;&#10;Description automatically generated">
            <a:extLst>
              <a:ext uri="{FF2B5EF4-FFF2-40B4-BE49-F238E27FC236}">
                <a16:creationId xmlns:a16="http://schemas.microsoft.com/office/drawing/2014/main" id="{0950BFBE-8176-9EAC-2754-4254718BE748}"/>
              </a:ext>
            </a:extLst>
          </p:cNvPr>
          <p:cNvPicPr>
            <a:picLocks noChangeAspect="1"/>
          </p:cNvPicPr>
          <p:nvPr userDrawn="1"/>
        </p:nvPicPr>
        <p:blipFill>
          <a:blip r:embed="rId2">
            <a:alphaModFix amt="21000"/>
            <a:extLst>
              <a:ext uri="{BEBA8EAE-BF5A-486C-A8C5-ECC9F3942E4B}">
                <a14:imgProps xmlns:a14="http://schemas.microsoft.com/office/drawing/2010/main">
                  <a14:imgLayer r:embed="rId3">
                    <a14:imgEffect>
                      <a14:brightnessContrast bright="-24000"/>
                    </a14:imgEffect>
                  </a14:imgLayer>
                </a14:imgProps>
              </a:ext>
              <a:ext uri="{28A0092B-C50C-407E-A947-70E740481C1C}">
                <a14:useLocalDpi xmlns:a14="http://schemas.microsoft.com/office/drawing/2010/main" val="0"/>
              </a:ext>
            </a:extLst>
          </a:blip>
          <a:srcRect t="41966"/>
          <a:stretch/>
        </p:blipFill>
        <p:spPr>
          <a:xfrm>
            <a:off x="0" y="0"/>
            <a:ext cx="12194450" cy="3979988"/>
          </a:xfrm>
          <a:prstGeom prst="rect">
            <a:avLst/>
          </a:prstGeom>
        </p:spPr>
      </p:pic>
      <p:pic>
        <p:nvPicPr>
          <p:cNvPr id="2" name="object 6">
            <a:extLst>
              <a:ext uri="{FF2B5EF4-FFF2-40B4-BE49-F238E27FC236}">
                <a16:creationId xmlns:a16="http://schemas.microsoft.com/office/drawing/2014/main" id="{AB4B8B31-ABF6-CEDE-02DC-8878DCB43610}"/>
              </a:ext>
            </a:extLst>
          </p:cNvPr>
          <p:cNvPicPr/>
          <p:nvPr userDrawn="1"/>
        </p:nvPicPr>
        <p:blipFill>
          <a:blip r:embed="rId4" cstate="print">
            <a:duotone>
              <a:prstClr val="black"/>
              <a:schemeClr val="tx2">
                <a:tint val="45000"/>
                <a:satMod val="400000"/>
              </a:schemeClr>
            </a:duotone>
            <a:alphaModFix amt="20000"/>
            <a:extLst>
              <a:ext uri="{BEBA8EAE-BF5A-486C-A8C5-ECC9F3942E4B}">
                <a14:imgProps xmlns:a14="http://schemas.microsoft.com/office/drawing/2010/main">
                  <a14:imgLayer r:embed="rId5">
                    <a14:imgEffect>
                      <a14:colorTemperature colorTemp="7200"/>
                    </a14:imgEffect>
                  </a14:imgLayer>
                </a14:imgProps>
              </a:ext>
            </a:extLst>
          </a:blip>
          <a:stretch>
            <a:fillRect/>
          </a:stretch>
        </p:blipFill>
        <p:spPr>
          <a:xfrm>
            <a:off x="0" y="893"/>
            <a:ext cx="12188824" cy="6856214"/>
          </a:xfrm>
          <a:prstGeom prst="rect">
            <a:avLst/>
          </a:prstGeom>
        </p:spPr>
      </p:pic>
      <p:sp>
        <p:nvSpPr>
          <p:cNvPr id="3" name="Date Placeholder 2">
            <a:extLst>
              <a:ext uri="{FF2B5EF4-FFF2-40B4-BE49-F238E27FC236}">
                <a16:creationId xmlns:a16="http://schemas.microsoft.com/office/drawing/2014/main" id="{8C16F05C-4BB9-7C82-C709-68EA2F74B897}"/>
              </a:ext>
            </a:extLst>
          </p:cNvPr>
          <p:cNvSpPr>
            <a:spLocks noGrp="1"/>
          </p:cNvSpPr>
          <p:nvPr>
            <p:ph type="dt" sz="half" idx="10"/>
          </p:nvPr>
        </p:nvSpPr>
        <p:spPr/>
        <p:txBody>
          <a:bodyPr/>
          <a:lstStyle/>
          <a:p>
            <a:fld id="{538BA0BE-9994-4243-B399-F1EA7335824C}" type="datetime1">
              <a:rPr lang="en-US" smtClean="0"/>
              <a:t>4/2/2025</a:t>
            </a:fld>
            <a:endParaRPr lang="en-US"/>
          </a:p>
        </p:txBody>
      </p:sp>
      <p:sp>
        <p:nvSpPr>
          <p:cNvPr id="4" name="Footer Placeholder 3">
            <a:extLst>
              <a:ext uri="{FF2B5EF4-FFF2-40B4-BE49-F238E27FC236}">
                <a16:creationId xmlns:a16="http://schemas.microsoft.com/office/drawing/2014/main" id="{B562C211-B566-11DA-A38D-906051586563}"/>
              </a:ext>
            </a:extLst>
          </p:cNvPr>
          <p:cNvSpPr>
            <a:spLocks noGrp="1"/>
          </p:cNvSpPr>
          <p:nvPr>
            <p:ph type="ftr" sz="quarter" idx="11"/>
          </p:nvPr>
        </p:nvSpPr>
        <p:spPr/>
        <p:txBody>
          <a:bodyPr/>
          <a:lstStyle/>
          <a:p>
            <a:endParaRPr lang="en-US"/>
          </a:p>
        </p:txBody>
      </p:sp>
      <p:sp>
        <p:nvSpPr>
          <p:cNvPr id="7" name="Text Placeholder 32">
            <a:extLst>
              <a:ext uri="{FF2B5EF4-FFF2-40B4-BE49-F238E27FC236}">
                <a16:creationId xmlns:a16="http://schemas.microsoft.com/office/drawing/2014/main" id="{76176889-EC90-7074-D8BD-FB8FBFBCB343}"/>
              </a:ext>
            </a:extLst>
          </p:cNvPr>
          <p:cNvSpPr>
            <a:spLocks noGrp="1"/>
          </p:cNvSpPr>
          <p:nvPr>
            <p:ph type="body" sz="quarter" idx="14" hasCustomPrompt="1"/>
          </p:nvPr>
        </p:nvSpPr>
        <p:spPr>
          <a:xfrm>
            <a:off x="763623" y="332656"/>
            <a:ext cx="10972800" cy="914400"/>
          </a:xfrm>
        </p:spPr>
        <p:txBody>
          <a:bodyPr anchor="b"/>
          <a:lstStyle>
            <a:lvl1pPr marL="0" indent="0">
              <a:spcBef>
                <a:spcPts val="0"/>
              </a:spcBef>
              <a:buNone/>
              <a:defRPr sz="3150">
                <a:solidFill>
                  <a:schemeClr val="bg1"/>
                </a:solidFill>
                <a:latin typeface="+mj-lt"/>
              </a:defRPr>
            </a:lvl1pPr>
          </a:lstStyle>
          <a:p>
            <a:pPr lvl="0"/>
            <a:r>
              <a:rPr lang="en-US"/>
              <a:t>Heading</a:t>
            </a:r>
          </a:p>
        </p:txBody>
      </p:sp>
      <p:sp>
        <p:nvSpPr>
          <p:cNvPr id="10" name="Text Placeholder 9">
            <a:extLst>
              <a:ext uri="{FF2B5EF4-FFF2-40B4-BE49-F238E27FC236}">
                <a16:creationId xmlns:a16="http://schemas.microsoft.com/office/drawing/2014/main" id="{37CFB753-B7D0-7691-BBDF-851034055F44}"/>
              </a:ext>
            </a:extLst>
          </p:cNvPr>
          <p:cNvSpPr>
            <a:spLocks noGrp="1"/>
          </p:cNvSpPr>
          <p:nvPr>
            <p:ph type="body" sz="quarter" idx="15"/>
          </p:nvPr>
        </p:nvSpPr>
        <p:spPr>
          <a:xfrm>
            <a:off x="763623" y="1304764"/>
            <a:ext cx="10972800" cy="457200"/>
          </a:xfrm>
        </p:spPr>
        <p:txBody>
          <a:bodyPr/>
          <a:lstStyle>
            <a:lvl1pPr marL="0" indent="0">
              <a:buNone/>
              <a:defRPr sz="2400" b="0">
                <a:solidFill>
                  <a:schemeClr val="accent3"/>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8" name="Slide Number Box">
            <a:extLst>
              <a:ext uri="{FF2B5EF4-FFF2-40B4-BE49-F238E27FC236}">
                <a16:creationId xmlns:a16="http://schemas.microsoft.com/office/drawing/2014/main" id="{0F62DB2E-BAFF-C32E-D7F1-267A0C3E04A9}"/>
              </a:ext>
            </a:extLst>
          </p:cNvPr>
          <p:cNvSpPr txBox="1"/>
          <p:nvPr userDrawn="1"/>
        </p:nvSpPr>
        <p:spPr>
          <a:xfrm>
            <a:off x="11566535" y="6234575"/>
            <a:ext cx="279503" cy="283464"/>
          </a:xfrm>
          <a:prstGeom prst="rect">
            <a:avLst/>
          </a:prstGeom>
          <a:solidFill>
            <a:srgbClr val="FFD700"/>
          </a:solidFill>
        </p:spPr>
        <p:txBody>
          <a:bodyPr vert="horz" wrap="square" lIns="0" tIns="38884" rIns="0" bIns="0" rtlCol="0">
            <a:spAutoFit/>
          </a:bodyPr>
          <a:lstStyle/>
          <a:p>
            <a:pPr marL="55825" algn="ctr">
              <a:spcBef>
                <a:spcPts val="306"/>
              </a:spcBef>
            </a:pPr>
            <a:endParaRPr sz="1182">
              <a:latin typeface="Real Head Pro"/>
              <a:cs typeface="Real Head Pro"/>
            </a:endParaRPr>
          </a:p>
        </p:txBody>
      </p:sp>
      <p:sp>
        <p:nvSpPr>
          <p:cNvPr id="9" name="Slide Number Placeholder 4">
            <a:extLst>
              <a:ext uri="{FF2B5EF4-FFF2-40B4-BE49-F238E27FC236}">
                <a16:creationId xmlns:a16="http://schemas.microsoft.com/office/drawing/2014/main" id="{F19D5302-242A-C96C-DC51-6B38927710A9}"/>
              </a:ext>
            </a:extLst>
          </p:cNvPr>
          <p:cNvSpPr>
            <a:spLocks noGrp="1"/>
          </p:cNvSpPr>
          <p:nvPr>
            <p:ph type="sldNum" sz="quarter" idx="12"/>
          </p:nvPr>
        </p:nvSpPr>
        <p:spPr>
          <a:xfrm>
            <a:off x="11562574" y="6234576"/>
            <a:ext cx="283464" cy="283464"/>
          </a:xfrm>
        </p:spPr>
        <p:txBody>
          <a:bodyPr/>
          <a:lstStyle/>
          <a:p>
            <a:fld id="{FF7D9A68-EC15-4B1F-850C-8A6CCAFA90D8}" type="slidenum">
              <a:rPr lang="en-US" smtClean="0"/>
              <a:pPr/>
              <a:t>‹#›</a:t>
            </a:fld>
            <a:endParaRPr lang="en-US"/>
          </a:p>
        </p:txBody>
      </p:sp>
      <p:grpSp>
        <p:nvGrpSpPr>
          <p:cNvPr id="11" name="Group 10">
            <a:extLst>
              <a:ext uri="{FF2B5EF4-FFF2-40B4-BE49-F238E27FC236}">
                <a16:creationId xmlns:a16="http://schemas.microsoft.com/office/drawing/2014/main" id="{6BED9393-F17E-A83E-16AE-D47E3B65D593}"/>
              </a:ext>
            </a:extLst>
          </p:cNvPr>
          <p:cNvGrpSpPr/>
          <p:nvPr userDrawn="1"/>
        </p:nvGrpSpPr>
        <p:grpSpPr>
          <a:xfrm>
            <a:off x="10768672" y="6279572"/>
            <a:ext cx="694340" cy="190186"/>
            <a:chOff x="10768672" y="6279572"/>
            <a:chExt cx="694340" cy="190186"/>
          </a:xfrm>
        </p:grpSpPr>
        <p:grpSp>
          <p:nvGrpSpPr>
            <p:cNvPr id="12" name="object 26">
              <a:extLst>
                <a:ext uri="{FF2B5EF4-FFF2-40B4-BE49-F238E27FC236}">
                  <a16:creationId xmlns:a16="http://schemas.microsoft.com/office/drawing/2014/main" id="{326FE5EF-F661-2E4D-569D-99C5707A10DE}"/>
                </a:ext>
              </a:extLst>
            </p:cNvPr>
            <p:cNvGrpSpPr/>
            <p:nvPr/>
          </p:nvGrpSpPr>
          <p:grpSpPr>
            <a:xfrm>
              <a:off x="10768672" y="6279841"/>
              <a:ext cx="348802" cy="189801"/>
              <a:chOff x="17759098" y="10356815"/>
              <a:chExt cx="575310" cy="313055"/>
            </a:xfrm>
          </p:grpSpPr>
          <p:sp>
            <p:nvSpPr>
              <p:cNvPr id="14" name="object 27">
                <a:extLst>
                  <a:ext uri="{FF2B5EF4-FFF2-40B4-BE49-F238E27FC236}">
                    <a16:creationId xmlns:a16="http://schemas.microsoft.com/office/drawing/2014/main" id="{31E844AB-E4E6-41D1-06AD-76B1CFE8F52F}"/>
                  </a:ext>
                </a:extLst>
              </p:cNvPr>
              <p:cNvSpPr/>
              <p:nvPr/>
            </p:nvSpPr>
            <p:spPr>
              <a:xfrm>
                <a:off x="17759098" y="10361392"/>
                <a:ext cx="281940" cy="302895"/>
              </a:xfrm>
              <a:custGeom>
                <a:avLst/>
                <a:gdLst/>
                <a:ahLst/>
                <a:cxnLst/>
                <a:rect l="l" t="t" r="r" b="b"/>
                <a:pathLst>
                  <a:path w="281940" h="302895">
                    <a:moveTo>
                      <a:pt x="281478" y="0"/>
                    </a:moveTo>
                    <a:lnTo>
                      <a:pt x="202936" y="0"/>
                    </a:lnTo>
                    <a:lnTo>
                      <a:pt x="202936" y="174308"/>
                    </a:lnTo>
                    <a:lnTo>
                      <a:pt x="80364" y="0"/>
                    </a:lnTo>
                    <a:lnTo>
                      <a:pt x="0" y="0"/>
                    </a:lnTo>
                    <a:lnTo>
                      <a:pt x="0" y="302723"/>
                    </a:lnTo>
                    <a:lnTo>
                      <a:pt x="78049" y="302723"/>
                    </a:lnTo>
                    <a:lnTo>
                      <a:pt x="78049" y="119807"/>
                    </a:lnTo>
                    <a:lnTo>
                      <a:pt x="206129" y="302776"/>
                    </a:lnTo>
                    <a:lnTo>
                      <a:pt x="281478" y="302776"/>
                    </a:lnTo>
                    <a:lnTo>
                      <a:pt x="281478" y="0"/>
                    </a:lnTo>
                    <a:close/>
                  </a:path>
                </a:pathLst>
              </a:custGeom>
              <a:solidFill>
                <a:srgbClr val="FFFFFF"/>
              </a:solidFill>
            </p:spPr>
            <p:txBody>
              <a:bodyPr wrap="square" lIns="0" tIns="0" rIns="0" bIns="0" rtlCol="0"/>
              <a:lstStyle/>
              <a:p>
                <a:endParaRPr kern="0">
                  <a:solidFill>
                    <a:sysClr val="windowText" lastClr="000000"/>
                  </a:solidFill>
                </a:endParaRPr>
              </a:p>
            </p:txBody>
          </p:sp>
          <p:sp>
            <p:nvSpPr>
              <p:cNvPr id="15" name="object 28">
                <a:extLst>
                  <a:ext uri="{FF2B5EF4-FFF2-40B4-BE49-F238E27FC236}">
                    <a16:creationId xmlns:a16="http://schemas.microsoft.com/office/drawing/2014/main" id="{2D4693D5-F392-D5D6-E414-BF8947EBACB9}"/>
                  </a:ext>
                </a:extLst>
              </p:cNvPr>
              <p:cNvSpPr/>
              <p:nvPr/>
            </p:nvSpPr>
            <p:spPr>
              <a:xfrm>
                <a:off x="18073618" y="10356815"/>
                <a:ext cx="260985" cy="313055"/>
              </a:xfrm>
              <a:custGeom>
                <a:avLst/>
                <a:gdLst/>
                <a:ahLst/>
                <a:cxnLst/>
                <a:rect l="l" t="t" r="r" b="b"/>
                <a:pathLst>
                  <a:path w="260984" h="313054">
                    <a:moveTo>
                      <a:pt x="130289" y="0"/>
                    </a:moveTo>
                    <a:lnTo>
                      <a:pt x="78682" y="7671"/>
                    </a:lnTo>
                    <a:lnTo>
                      <a:pt x="40822" y="28360"/>
                    </a:lnTo>
                    <a:lnTo>
                      <a:pt x="17523" y="58574"/>
                    </a:lnTo>
                    <a:lnTo>
                      <a:pt x="9601" y="94824"/>
                    </a:lnTo>
                    <a:lnTo>
                      <a:pt x="21302" y="138425"/>
                    </a:lnTo>
                    <a:lnTo>
                      <a:pt x="50787" y="165184"/>
                    </a:lnTo>
                    <a:lnTo>
                      <a:pt x="89631" y="180370"/>
                    </a:lnTo>
                    <a:lnTo>
                      <a:pt x="129409" y="189250"/>
                    </a:lnTo>
                    <a:lnTo>
                      <a:pt x="151085" y="194533"/>
                    </a:lnTo>
                    <a:lnTo>
                      <a:pt x="167360" y="200784"/>
                    </a:lnTo>
                    <a:lnTo>
                      <a:pt x="177593" y="208990"/>
                    </a:lnTo>
                    <a:lnTo>
                      <a:pt x="181146" y="220139"/>
                    </a:lnTo>
                    <a:lnTo>
                      <a:pt x="178169" y="230305"/>
                    </a:lnTo>
                    <a:lnTo>
                      <a:pt x="169613" y="238518"/>
                    </a:lnTo>
                    <a:lnTo>
                      <a:pt x="156042" y="244011"/>
                    </a:lnTo>
                    <a:lnTo>
                      <a:pt x="138016" y="246013"/>
                    </a:lnTo>
                    <a:lnTo>
                      <a:pt x="108540" y="242837"/>
                    </a:lnTo>
                    <a:lnTo>
                      <a:pt x="82344" y="234216"/>
                    </a:lnTo>
                    <a:lnTo>
                      <a:pt x="59809" y="221510"/>
                    </a:lnTo>
                    <a:lnTo>
                      <a:pt x="41318" y="206025"/>
                    </a:lnTo>
                    <a:lnTo>
                      <a:pt x="0" y="264599"/>
                    </a:lnTo>
                    <a:lnTo>
                      <a:pt x="25223" y="284356"/>
                    </a:lnTo>
                    <a:lnTo>
                      <a:pt x="55622" y="299531"/>
                    </a:lnTo>
                    <a:lnTo>
                      <a:pt x="91803" y="309266"/>
                    </a:lnTo>
                    <a:lnTo>
                      <a:pt x="134372" y="312702"/>
                    </a:lnTo>
                    <a:lnTo>
                      <a:pt x="188371" y="305443"/>
                    </a:lnTo>
                    <a:lnTo>
                      <a:pt x="227945" y="284908"/>
                    </a:lnTo>
                    <a:lnTo>
                      <a:pt x="252285" y="252965"/>
                    </a:lnTo>
                    <a:lnTo>
                      <a:pt x="260578" y="211480"/>
                    </a:lnTo>
                    <a:lnTo>
                      <a:pt x="249016" y="169435"/>
                    </a:lnTo>
                    <a:lnTo>
                      <a:pt x="219837" y="142952"/>
                    </a:lnTo>
                    <a:lnTo>
                      <a:pt x="181299" y="127359"/>
                    </a:lnTo>
                    <a:lnTo>
                      <a:pt x="141660" y="117985"/>
                    </a:lnTo>
                    <a:lnTo>
                      <a:pt x="119330" y="113216"/>
                    </a:lnTo>
                    <a:lnTo>
                      <a:pt x="102966" y="107720"/>
                    </a:lnTo>
                    <a:lnTo>
                      <a:pt x="92902" y="100435"/>
                    </a:lnTo>
                    <a:lnTo>
                      <a:pt x="89473" y="90300"/>
                    </a:lnTo>
                    <a:lnTo>
                      <a:pt x="91313" y="81050"/>
                    </a:lnTo>
                    <a:lnTo>
                      <a:pt x="97367" y="73551"/>
                    </a:lnTo>
                    <a:lnTo>
                      <a:pt x="108437" y="68524"/>
                    </a:lnTo>
                    <a:lnTo>
                      <a:pt x="125326" y="66689"/>
                    </a:lnTo>
                    <a:lnTo>
                      <a:pt x="146369" y="68645"/>
                    </a:lnTo>
                    <a:lnTo>
                      <a:pt x="168489" y="74516"/>
                    </a:lnTo>
                    <a:lnTo>
                      <a:pt x="190362" y="84305"/>
                    </a:lnTo>
                    <a:lnTo>
                      <a:pt x="210663" y="98017"/>
                    </a:lnTo>
                    <a:lnTo>
                      <a:pt x="253301" y="42197"/>
                    </a:lnTo>
                    <a:lnTo>
                      <a:pt x="227314" y="23920"/>
                    </a:lnTo>
                    <a:lnTo>
                      <a:pt x="197916" y="10713"/>
                    </a:lnTo>
                    <a:lnTo>
                      <a:pt x="165458" y="2698"/>
                    </a:lnTo>
                    <a:lnTo>
                      <a:pt x="130289" y="0"/>
                    </a:lnTo>
                    <a:close/>
                  </a:path>
                </a:pathLst>
              </a:custGeom>
              <a:solidFill>
                <a:srgbClr val="00BFFF"/>
              </a:solidFill>
            </p:spPr>
            <p:txBody>
              <a:bodyPr wrap="square" lIns="0" tIns="0" rIns="0" bIns="0" rtlCol="0"/>
              <a:lstStyle/>
              <a:p>
                <a:endParaRPr kern="0">
                  <a:solidFill>
                    <a:sysClr val="windowText" lastClr="000000"/>
                  </a:solidFill>
                </a:endParaRPr>
              </a:p>
            </p:txBody>
          </p:sp>
        </p:grpSp>
        <p:sp>
          <p:nvSpPr>
            <p:cNvPr id="13" name="object 29">
              <a:extLst>
                <a:ext uri="{FF2B5EF4-FFF2-40B4-BE49-F238E27FC236}">
                  <a16:creationId xmlns:a16="http://schemas.microsoft.com/office/drawing/2014/main" id="{A66421C1-FA26-B116-214C-2CEEE7B5C97A}"/>
                </a:ext>
              </a:extLst>
            </p:cNvPr>
            <p:cNvSpPr/>
            <p:nvPr/>
          </p:nvSpPr>
          <p:spPr>
            <a:xfrm>
              <a:off x="11126915" y="6279572"/>
              <a:ext cx="336097" cy="190186"/>
            </a:xfrm>
            <a:custGeom>
              <a:avLst/>
              <a:gdLst/>
              <a:ahLst/>
              <a:cxnLst/>
              <a:rect l="l" t="t" r="r" b="b"/>
              <a:pathLst>
                <a:path w="554355" h="313690">
                  <a:moveTo>
                    <a:pt x="247383" y="4508"/>
                  </a:moveTo>
                  <a:lnTo>
                    <a:pt x="0" y="4508"/>
                  </a:lnTo>
                  <a:lnTo>
                    <a:pt x="0" y="73088"/>
                  </a:lnTo>
                  <a:lnTo>
                    <a:pt x="84886" y="73088"/>
                  </a:lnTo>
                  <a:lnTo>
                    <a:pt x="84886" y="308038"/>
                  </a:lnTo>
                  <a:lnTo>
                    <a:pt x="162928" y="308038"/>
                  </a:lnTo>
                  <a:lnTo>
                    <a:pt x="162928" y="73088"/>
                  </a:lnTo>
                  <a:lnTo>
                    <a:pt x="247383" y="73088"/>
                  </a:lnTo>
                  <a:lnTo>
                    <a:pt x="247383" y="4508"/>
                  </a:lnTo>
                  <a:close/>
                </a:path>
                <a:path w="554355" h="313690">
                  <a:moveTo>
                    <a:pt x="554139" y="81254"/>
                  </a:moveTo>
                  <a:lnTo>
                    <a:pt x="535305" y="51714"/>
                  </a:lnTo>
                  <a:lnTo>
                    <a:pt x="507720" y="25654"/>
                  </a:lnTo>
                  <a:lnTo>
                    <a:pt x="469734" y="7086"/>
                  </a:lnTo>
                  <a:lnTo>
                    <a:pt x="419760" y="0"/>
                  </a:lnTo>
                  <a:lnTo>
                    <a:pt x="368109" y="7315"/>
                  </a:lnTo>
                  <a:lnTo>
                    <a:pt x="323684" y="28206"/>
                  </a:lnTo>
                  <a:lnTo>
                    <a:pt x="288937" y="61087"/>
                  </a:lnTo>
                  <a:lnTo>
                    <a:pt x="266293" y="104419"/>
                  </a:lnTo>
                  <a:lnTo>
                    <a:pt x="258191" y="156603"/>
                  </a:lnTo>
                  <a:lnTo>
                    <a:pt x="266280" y="208622"/>
                  </a:lnTo>
                  <a:lnTo>
                    <a:pt x="288912" y="251929"/>
                  </a:lnTo>
                  <a:lnTo>
                    <a:pt x="323672" y="284886"/>
                  </a:lnTo>
                  <a:lnTo>
                    <a:pt x="368096" y="305854"/>
                  </a:lnTo>
                  <a:lnTo>
                    <a:pt x="419760" y="313207"/>
                  </a:lnTo>
                  <a:lnTo>
                    <a:pt x="469798" y="306006"/>
                  </a:lnTo>
                  <a:lnTo>
                    <a:pt x="507885" y="287223"/>
                  </a:lnTo>
                  <a:lnTo>
                    <a:pt x="535495" y="261124"/>
                  </a:lnTo>
                  <a:lnTo>
                    <a:pt x="554139" y="231952"/>
                  </a:lnTo>
                  <a:lnTo>
                    <a:pt x="486943" y="200190"/>
                  </a:lnTo>
                  <a:lnTo>
                    <a:pt x="476643" y="217208"/>
                  </a:lnTo>
                  <a:lnTo>
                    <a:pt x="461352" y="231216"/>
                  </a:lnTo>
                  <a:lnTo>
                    <a:pt x="442074" y="240703"/>
                  </a:lnTo>
                  <a:lnTo>
                    <a:pt x="419760" y="244208"/>
                  </a:lnTo>
                  <a:lnTo>
                    <a:pt x="387032" y="237477"/>
                  </a:lnTo>
                  <a:lnTo>
                    <a:pt x="361010" y="218960"/>
                  </a:lnTo>
                  <a:lnTo>
                    <a:pt x="343827" y="191160"/>
                  </a:lnTo>
                  <a:lnTo>
                    <a:pt x="337629" y="156603"/>
                  </a:lnTo>
                  <a:lnTo>
                    <a:pt x="343827" y="122047"/>
                  </a:lnTo>
                  <a:lnTo>
                    <a:pt x="360984" y="94246"/>
                  </a:lnTo>
                  <a:lnTo>
                    <a:pt x="387007" y="75730"/>
                  </a:lnTo>
                  <a:lnTo>
                    <a:pt x="419760" y="69011"/>
                  </a:lnTo>
                  <a:lnTo>
                    <a:pt x="442074" y="72504"/>
                  </a:lnTo>
                  <a:lnTo>
                    <a:pt x="461352" y="81991"/>
                  </a:lnTo>
                  <a:lnTo>
                    <a:pt x="476643" y="95999"/>
                  </a:lnTo>
                  <a:lnTo>
                    <a:pt x="486943" y="113030"/>
                  </a:lnTo>
                  <a:lnTo>
                    <a:pt x="554139" y="81254"/>
                  </a:lnTo>
                  <a:close/>
                </a:path>
              </a:pathLst>
            </a:custGeom>
            <a:solidFill>
              <a:srgbClr val="FFFFFF"/>
            </a:solidFill>
          </p:spPr>
          <p:txBody>
            <a:bodyPr wrap="square" lIns="0" tIns="0" rIns="0" bIns="0" rtlCol="0"/>
            <a:lstStyle/>
            <a:p>
              <a:endParaRPr kern="0">
                <a:solidFill>
                  <a:sysClr val="windowText" lastClr="000000"/>
                </a:solidFill>
              </a:endParaRPr>
            </a:p>
          </p:txBody>
        </p:sp>
      </p:grpSp>
    </p:spTree>
    <p:extLst>
      <p:ext uri="{BB962C8B-B14F-4D97-AF65-F5344CB8AC3E}">
        <p14:creationId xmlns:p14="http://schemas.microsoft.com/office/powerpoint/2010/main" val="118446842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ubtitle graphic and Image dark background">
    <p:bg>
      <p:bgPr>
        <a:solidFill>
          <a:schemeClr val="accent1"/>
        </a:solidFill>
        <a:effectLst/>
      </p:bgPr>
    </p:bg>
    <p:spTree>
      <p:nvGrpSpPr>
        <p:cNvPr id="1" name=""/>
        <p:cNvGrpSpPr/>
        <p:nvPr/>
      </p:nvGrpSpPr>
      <p:grpSpPr>
        <a:xfrm>
          <a:off x="0" y="0"/>
          <a:ext cx="0" cy="0"/>
          <a:chOff x="0" y="0"/>
          <a:chExt cx="0" cy="0"/>
        </a:xfrm>
      </p:grpSpPr>
      <p:pic>
        <p:nvPicPr>
          <p:cNvPr id="5" name="Picture 4" descr="A machine with a blue circular object&#10;&#10;Description automatically generated">
            <a:extLst>
              <a:ext uri="{FF2B5EF4-FFF2-40B4-BE49-F238E27FC236}">
                <a16:creationId xmlns:a16="http://schemas.microsoft.com/office/drawing/2014/main" id="{0950BFBE-8176-9EAC-2754-4254718BE748}"/>
              </a:ext>
            </a:extLst>
          </p:cNvPr>
          <p:cNvPicPr>
            <a:picLocks noChangeAspect="1"/>
          </p:cNvPicPr>
          <p:nvPr userDrawn="1"/>
        </p:nvPicPr>
        <p:blipFill>
          <a:blip r:embed="rId2">
            <a:alphaModFix amt="21000"/>
            <a:extLst>
              <a:ext uri="{BEBA8EAE-BF5A-486C-A8C5-ECC9F3942E4B}">
                <a14:imgProps xmlns:a14="http://schemas.microsoft.com/office/drawing/2010/main">
                  <a14:imgLayer r:embed="rId3">
                    <a14:imgEffect>
                      <a14:brightnessContrast bright="-15000"/>
                    </a14:imgEffect>
                  </a14:imgLayer>
                </a14:imgProps>
              </a:ext>
              <a:ext uri="{28A0092B-C50C-407E-A947-70E740481C1C}">
                <a14:useLocalDpi xmlns:a14="http://schemas.microsoft.com/office/drawing/2010/main" val="0"/>
              </a:ext>
            </a:extLst>
          </a:blip>
          <a:stretch>
            <a:fillRect/>
          </a:stretch>
        </p:blipFill>
        <p:spPr>
          <a:xfrm>
            <a:off x="-1225" y="0"/>
            <a:ext cx="12194450" cy="6858000"/>
          </a:xfrm>
          <a:prstGeom prst="rect">
            <a:avLst/>
          </a:prstGeom>
        </p:spPr>
      </p:pic>
      <p:pic>
        <p:nvPicPr>
          <p:cNvPr id="6" name="object 6">
            <a:extLst>
              <a:ext uri="{FF2B5EF4-FFF2-40B4-BE49-F238E27FC236}">
                <a16:creationId xmlns:a16="http://schemas.microsoft.com/office/drawing/2014/main" id="{685FD9F7-C675-0917-BCA3-F729E72E023A}"/>
              </a:ext>
            </a:extLst>
          </p:cNvPr>
          <p:cNvPicPr/>
          <p:nvPr userDrawn="1"/>
        </p:nvPicPr>
        <p:blipFill>
          <a:blip r:embed="rId4" cstate="print">
            <a:alphaModFix amt="15000"/>
          </a:blip>
          <a:stretch>
            <a:fillRect/>
          </a:stretch>
        </p:blipFill>
        <p:spPr>
          <a:xfrm>
            <a:off x="3176" y="893"/>
            <a:ext cx="12188824" cy="6856214"/>
          </a:xfrm>
          <a:prstGeom prst="rect">
            <a:avLst/>
          </a:prstGeom>
        </p:spPr>
      </p:pic>
      <p:sp>
        <p:nvSpPr>
          <p:cNvPr id="3" name="Date Placeholder 2">
            <a:extLst>
              <a:ext uri="{FF2B5EF4-FFF2-40B4-BE49-F238E27FC236}">
                <a16:creationId xmlns:a16="http://schemas.microsoft.com/office/drawing/2014/main" id="{8C16F05C-4BB9-7C82-C709-68EA2F74B897}"/>
              </a:ext>
            </a:extLst>
          </p:cNvPr>
          <p:cNvSpPr>
            <a:spLocks noGrp="1"/>
          </p:cNvSpPr>
          <p:nvPr>
            <p:ph type="dt" sz="half" idx="10"/>
          </p:nvPr>
        </p:nvSpPr>
        <p:spPr/>
        <p:txBody>
          <a:bodyPr/>
          <a:lstStyle/>
          <a:p>
            <a:fld id="{538BA0BE-9994-4243-B399-F1EA7335824C}" type="datetime1">
              <a:rPr lang="en-US" smtClean="0"/>
              <a:t>4/2/2025</a:t>
            </a:fld>
            <a:endParaRPr lang="en-US"/>
          </a:p>
        </p:txBody>
      </p:sp>
      <p:sp>
        <p:nvSpPr>
          <p:cNvPr id="4" name="Footer Placeholder 3">
            <a:extLst>
              <a:ext uri="{FF2B5EF4-FFF2-40B4-BE49-F238E27FC236}">
                <a16:creationId xmlns:a16="http://schemas.microsoft.com/office/drawing/2014/main" id="{B562C211-B566-11DA-A38D-906051586563}"/>
              </a:ext>
            </a:extLst>
          </p:cNvPr>
          <p:cNvSpPr>
            <a:spLocks noGrp="1"/>
          </p:cNvSpPr>
          <p:nvPr>
            <p:ph type="ftr" sz="quarter" idx="11"/>
          </p:nvPr>
        </p:nvSpPr>
        <p:spPr/>
        <p:txBody>
          <a:bodyPr/>
          <a:lstStyle/>
          <a:p>
            <a:endParaRPr lang="en-US"/>
          </a:p>
        </p:txBody>
      </p:sp>
      <p:sp>
        <p:nvSpPr>
          <p:cNvPr id="7" name="Text Placeholder 32">
            <a:extLst>
              <a:ext uri="{FF2B5EF4-FFF2-40B4-BE49-F238E27FC236}">
                <a16:creationId xmlns:a16="http://schemas.microsoft.com/office/drawing/2014/main" id="{76176889-EC90-7074-D8BD-FB8FBFBCB343}"/>
              </a:ext>
            </a:extLst>
          </p:cNvPr>
          <p:cNvSpPr>
            <a:spLocks noGrp="1"/>
          </p:cNvSpPr>
          <p:nvPr>
            <p:ph type="body" sz="quarter" idx="14" hasCustomPrompt="1"/>
          </p:nvPr>
        </p:nvSpPr>
        <p:spPr>
          <a:xfrm>
            <a:off x="763623" y="332656"/>
            <a:ext cx="8229600" cy="914400"/>
          </a:xfrm>
        </p:spPr>
        <p:txBody>
          <a:bodyPr anchor="b"/>
          <a:lstStyle>
            <a:lvl1pPr marL="0" indent="0">
              <a:spcBef>
                <a:spcPts val="0"/>
              </a:spcBef>
              <a:buNone/>
              <a:defRPr sz="3150">
                <a:solidFill>
                  <a:schemeClr val="bg1"/>
                </a:solidFill>
                <a:latin typeface="+mj-lt"/>
              </a:defRPr>
            </a:lvl1pPr>
          </a:lstStyle>
          <a:p>
            <a:pPr lvl="0"/>
            <a:r>
              <a:rPr lang="en-US"/>
              <a:t>Heading</a:t>
            </a:r>
          </a:p>
        </p:txBody>
      </p:sp>
      <p:sp>
        <p:nvSpPr>
          <p:cNvPr id="8" name="Slide Number Box">
            <a:extLst>
              <a:ext uri="{FF2B5EF4-FFF2-40B4-BE49-F238E27FC236}">
                <a16:creationId xmlns:a16="http://schemas.microsoft.com/office/drawing/2014/main" id="{0F62DB2E-BAFF-C32E-D7F1-267A0C3E04A9}"/>
              </a:ext>
            </a:extLst>
          </p:cNvPr>
          <p:cNvSpPr txBox="1"/>
          <p:nvPr userDrawn="1"/>
        </p:nvSpPr>
        <p:spPr>
          <a:xfrm>
            <a:off x="11566535" y="6234575"/>
            <a:ext cx="279503" cy="283464"/>
          </a:xfrm>
          <a:prstGeom prst="rect">
            <a:avLst/>
          </a:prstGeom>
          <a:solidFill>
            <a:srgbClr val="FFD700"/>
          </a:solidFill>
        </p:spPr>
        <p:txBody>
          <a:bodyPr vert="horz" wrap="square" lIns="0" tIns="38884" rIns="0" bIns="0" rtlCol="0">
            <a:spAutoFit/>
          </a:bodyPr>
          <a:lstStyle/>
          <a:p>
            <a:pPr marL="55825" algn="ctr">
              <a:spcBef>
                <a:spcPts val="306"/>
              </a:spcBef>
            </a:pPr>
            <a:endParaRPr sz="1182">
              <a:latin typeface="Real Head Pro"/>
              <a:cs typeface="Real Head Pro"/>
            </a:endParaRPr>
          </a:p>
        </p:txBody>
      </p:sp>
      <p:sp>
        <p:nvSpPr>
          <p:cNvPr id="9" name="Slide Number Placeholder 4">
            <a:extLst>
              <a:ext uri="{FF2B5EF4-FFF2-40B4-BE49-F238E27FC236}">
                <a16:creationId xmlns:a16="http://schemas.microsoft.com/office/drawing/2014/main" id="{F19D5302-242A-C96C-DC51-6B38927710A9}"/>
              </a:ext>
            </a:extLst>
          </p:cNvPr>
          <p:cNvSpPr>
            <a:spLocks noGrp="1"/>
          </p:cNvSpPr>
          <p:nvPr>
            <p:ph type="sldNum" sz="quarter" idx="12"/>
          </p:nvPr>
        </p:nvSpPr>
        <p:spPr>
          <a:xfrm>
            <a:off x="11562574" y="6234576"/>
            <a:ext cx="283464" cy="283464"/>
          </a:xfrm>
        </p:spPr>
        <p:txBody>
          <a:bodyPr/>
          <a:lstStyle/>
          <a:p>
            <a:fld id="{FF7D9A68-EC15-4B1F-850C-8A6CCAFA90D8}" type="slidenum">
              <a:rPr lang="en-US" smtClean="0"/>
              <a:pPr/>
              <a:t>‹#›</a:t>
            </a:fld>
            <a:endParaRPr lang="en-US"/>
          </a:p>
        </p:txBody>
      </p:sp>
      <p:grpSp>
        <p:nvGrpSpPr>
          <p:cNvPr id="11" name="Group 10">
            <a:extLst>
              <a:ext uri="{FF2B5EF4-FFF2-40B4-BE49-F238E27FC236}">
                <a16:creationId xmlns:a16="http://schemas.microsoft.com/office/drawing/2014/main" id="{6BED9393-F17E-A83E-16AE-D47E3B65D593}"/>
              </a:ext>
            </a:extLst>
          </p:cNvPr>
          <p:cNvGrpSpPr/>
          <p:nvPr userDrawn="1"/>
        </p:nvGrpSpPr>
        <p:grpSpPr>
          <a:xfrm>
            <a:off x="10768672" y="6279572"/>
            <a:ext cx="694340" cy="190186"/>
            <a:chOff x="10768672" y="6279572"/>
            <a:chExt cx="694340" cy="190186"/>
          </a:xfrm>
        </p:grpSpPr>
        <p:grpSp>
          <p:nvGrpSpPr>
            <p:cNvPr id="12" name="object 26">
              <a:extLst>
                <a:ext uri="{FF2B5EF4-FFF2-40B4-BE49-F238E27FC236}">
                  <a16:creationId xmlns:a16="http://schemas.microsoft.com/office/drawing/2014/main" id="{326FE5EF-F661-2E4D-569D-99C5707A10DE}"/>
                </a:ext>
              </a:extLst>
            </p:cNvPr>
            <p:cNvGrpSpPr/>
            <p:nvPr/>
          </p:nvGrpSpPr>
          <p:grpSpPr>
            <a:xfrm>
              <a:off x="10768672" y="6279841"/>
              <a:ext cx="348802" cy="189801"/>
              <a:chOff x="17759098" y="10356815"/>
              <a:chExt cx="575310" cy="313055"/>
            </a:xfrm>
          </p:grpSpPr>
          <p:sp>
            <p:nvSpPr>
              <p:cNvPr id="14" name="object 27">
                <a:extLst>
                  <a:ext uri="{FF2B5EF4-FFF2-40B4-BE49-F238E27FC236}">
                    <a16:creationId xmlns:a16="http://schemas.microsoft.com/office/drawing/2014/main" id="{31E844AB-E4E6-41D1-06AD-76B1CFE8F52F}"/>
                  </a:ext>
                </a:extLst>
              </p:cNvPr>
              <p:cNvSpPr/>
              <p:nvPr/>
            </p:nvSpPr>
            <p:spPr>
              <a:xfrm>
                <a:off x="17759098" y="10361392"/>
                <a:ext cx="281940" cy="302895"/>
              </a:xfrm>
              <a:custGeom>
                <a:avLst/>
                <a:gdLst/>
                <a:ahLst/>
                <a:cxnLst/>
                <a:rect l="l" t="t" r="r" b="b"/>
                <a:pathLst>
                  <a:path w="281940" h="302895">
                    <a:moveTo>
                      <a:pt x="281478" y="0"/>
                    </a:moveTo>
                    <a:lnTo>
                      <a:pt x="202936" y="0"/>
                    </a:lnTo>
                    <a:lnTo>
                      <a:pt x="202936" y="174308"/>
                    </a:lnTo>
                    <a:lnTo>
                      <a:pt x="80364" y="0"/>
                    </a:lnTo>
                    <a:lnTo>
                      <a:pt x="0" y="0"/>
                    </a:lnTo>
                    <a:lnTo>
                      <a:pt x="0" y="302723"/>
                    </a:lnTo>
                    <a:lnTo>
                      <a:pt x="78049" y="302723"/>
                    </a:lnTo>
                    <a:lnTo>
                      <a:pt x="78049" y="119807"/>
                    </a:lnTo>
                    <a:lnTo>
                      <a:pt x="206129" y="302776"/>
                    </a:lnTo>
                    <a:lnTo>
                      <a:pt x="281478" y="302776"/>
                    </a:lnTo>
                    <a:lnTo>
                      <a:pt x="281478" y="0"/>
                    </a:lnTo>
                    <a:close/>
                  </a:path>
                </a:pathLst>
              </a:custGeom>
              <a:solidFill>
                <a:srgbClr val="FFFFFF"/>
              </a:solidFill>
            </p:spPr>
            <p:txBody>
              <a:bodyPr wrap="square" lIns="0" tIns="0" rIns="0" bIns="0" rtlCol="0"/>
              <a:lstStyle/>
              <a:p>
                <a:endParaRPr kern="0">
                  <a:solidFill>
                    <a:sysClr val="windowText" lastClr="000000"/>
                  </a:solidFill>
                </a:endParaRPr>
              </a:p>
            </p:txBody>
          </p:sp>
          <p:sp>
            <p:nvSpPr>
              <p:cNvPr id="15" name="object 28">
                <a:extLst>
                  <a:ext uri="{FF2B5EF4-FFF2-40B4-BE49-F238E27FC236}">
                    <a16:creationId xmlns:a16="http://schemas.microsoft.com/office/drawing/2014/main" id="{2D4693D5-F392-D5D6-E414-BF8947EBACB9}"/>
                  </a:ext>
                </a:extLst>
              </p:cNvPr>
              <p:cNvSpPr/>
              <p:nvPr/>
            </p:nvSpPr>
            <p:spPr>
              <a:xfrm>
                <a:off x="18073618" y="10356815"/>
                <a:ext cx="260985" cy="313055"/>
              </a:xfrm>
              <a:custGeom>
                <a:avLst/>
                <a:gdLst/>
                <a:ahLst/>
                <a:cxnLst/>
                <a:rect l="l" t="t" r="r" b="b"/>
                <a:pathLst>
                  <a:path w="260984" h="313054">
                    <a:moveTo>
                      <a:pt x="130289" y="0"/>
                    </a:moveTo>
                    <a:lnTo>
                      <a:pt x="78682" y="7671"/>
                    </a:lnTo>
                    <a:lnTo>
                      <a:pt x="40822" y="28360"/>
                    </a:lnTo>
                    <a:lnTo>
                      <a:pt x="17523" y="58574"/>
                    </a:lnTo>
                    <a:lnTo>
                      <a:pt x="9601" y="94824"/>
                    </a:lnTo>
                    <a:lnTo>
                      <a:pt x="21302" y="138425"/>
                    </a:lnTo>
                    <a:lnTo>
                      <a:pt x="50787" y="165184"/>
                    </a:lnTo>
                    <a:lnTo>
                      <a:pt x="89631" y="180370"/>
                    </a:lnTo>
                    <a:lnTo>
                      <a:pt x="129409" y="189250"/>
                    </a:lnTo>
                    <a:lnTo>
                      <a:pt x="151085" y="194533"/>
                    </a:lnTo>
                    <a:lnTo>
                      <a:pt x="167360" y="200784"/>
                    </a:lnTo>
                    <a:lnTo>
                      <a:pt x="177593" y="208990"/>
                    </a:lnTo>
                    <a:lnTo>
                      <a:pt x="181146" y="220139"/>
                    </a:lnTo>
                    <a:lnTo>
                      <a:pt x="178169" y="230305"/>
                    </a:lnTo>
                    <a:lnTo>
                      <a:pt x="169613" y="238518"/>
                    </a:lnTo>
                    <a:lnTo>
                      <a:pt x="156042" y="244011"/>
                    </a:lnTo>
                    <a:lnTo>
                      <a:pt x="138016" y="246013"/>
                    </a:lnTo>
                    <a:lnTo>
                      <a:pt x="108540" y="242837"/>
                    </a:lnTo>
                    <a:lnTo>
                      <a:pt x="82344" y="234216"/>
                    </a:lnTo>
                    <a:lnTo>
                      <a:pt x="59809" y="221510"/>
                    </a:lnTo>
                    <a:lnTo>
                      <a:pt x="41318" y="206025"/>
                    </a:lnTo>
                    <a:lnTo>
                      <a:pt x="0" y="264599"/>
                    </a:lnTo>
                    <a:lnTo>
                      <a:pt x="25223" y="284356"/>
                    </a:lnTo>
                    <a:lnTo>
                      <a:pt x="55622" y="299531"/>
                    </a:lnTo>
                    <a:lnTo>
                      <a:pt x="91803" y="309266"/>
                    </a:lnTo>
                    <a:lnTo>
                      <a:pt x="134372" y="312702"/>
                    </a:lnTo>
                    <a:lnTo>
                      <a:pt x="188371" y="305443"/>
                    </a:lnTo>
                    <a:lnTo>
                      <a:pt x="227945" y="284908"/>
                    </a:lnTo>
                    <a:lnTo>
                      <a:pt x="252285" y="252965"/>
                    </a:lnTo>
                    <a:lnTo>
                      <a:pt x="260578" y="211480"/>
                    </a:lnTo>
                    <a:lnTo>
                      <a:pt x="249016" y="169435"/>
                    </a:lnTo>
                    <a:lnTo>
                      <a:pt x="219837" y="142952"/>
                    </a:lnTo>
                    <a:lnTo>
                      <a:pt x="181299" y="127359"/>
                    </a:lnTo>
                    <a:lnTo>
                      <a:pt x="141660" y="117985"/>
                    </a:lnTo>
                    <a:lnTo>
                      <a:pt x="119330" y="113216"/>
                    </a:lnTo>
                    <a:lnTo>
                      <a:pt x="102966" y="107720"/>
                    </a:lnTo>
                    <a:lnTo>
                      <a:pt x="92902" y="100435"/>
                    </a:lnTo>
                    <a:lnTo>
                      <a:pt x="89473" y="90300"/>
                    </a:lnTo>
                    <a:lnTo>
                      <a:pt x="91313" y="81050"/>
                    </a:lnTo>
                    <a:lnTo>
                      <a:pt x="97367" y="73551"/>
                    </a:lnTo>
                    <a:lnTo>
                      <a:pt x="108437" y="68524"/>
                    </a:lnTo>
                    <a:lnTo>
                      <a:pt x="125326" y="66689"/>
                    </a:lnTo>
                    <a:lnTo>
                      <a:pt x="146369" y="68645"/>
                    </a:lnTo>
                    <a:lnTo>
                      <a:pt x="168489" y="74516"/>
                    </a:lnTo>
                    <a:lnTo>
                      <a:pt x="190362" y="84305"/>
                    </a:lnTo>
                    <a:lnTo>
                      <a:pt x="210663" y="98017"/>
                    </a:lnTo>
                    <a:lnTo>
                      <a:pt x="253301" y="42197"/>
                    </a:lnTo>
                    <a:lnTo>
                      <a:pt x="227314" y="23920"/>
                    </a:lnTo>
                    <a:lnTo>
                      <a:pt x="197916" y="10713"/>
                    </a:lnTo>
                    <a:lnTo>
                      <a:pt x="165458" y="2698"/>
                    </a:lnTo>
                    <a:lnTo>
                      <a:pt x="130289" y="0"/>
                    </a:lnTo>
                    <a:close/>
                  </a:path>
                </a:pathLst>
              </a:custGeom>
              <a:solidFill>
                <a:srgbClr val="00BFFF"/>
              </a:solidFill>
            </p:spPr>
            <p:txBody>
              <a:bodyPr wrap="square" lIns="0" tIns="0" rIns="0" bIns="0" rtlCol="0"/>
              <a:lstStyle/>
              <a:p>
                <a:endParaRPr kern="0">
                  <a:solidFill>
                    <a:sysClr val="windowText" lastClr="000000"/>
                  </a:solidFill>
                </a:endParaRPr>
              </a:p>
            </p:txBody>
          </p:sp>
        </p:grpSp>
        <p:sp>
          <p:nvSpPr>
            <p:cNvPr id="13" name="object 29">
              <a:extLst>
                <a:ext uri="{FF2B5EF4-FFF2-40B4-BE49-F238E27FC236}">
                  <a16:creationId xmlns:a16="http://schemas.microsoft.com/office/drawing/2014/main" id="{A66421C1-FA26-B116-214C-2CEEE7B5C97A}"/>
                </a:ext>
              </a:extLst>
            </p:cNvPr>
            <p:cNvSpPr/>
            <p:nvPr/>
          </p:nvSpPr>
          <p:spPr>
            <a:xfrm>
              <a:off x="11126915" y="6279572"/>
              <a:ext cx="336097" cy="190186"/>
            </a:xfrm>
            <a:custGeom>
              <a:avLst/>
              <a:gdLst/>
              <a:ahLst/>
              <a:cxnLst/>
              <a:rect l="l" t="t" r="r" b="b"/>
              <a:pathLst>
                <a:path w="554355" h="313690">
                  <a:moveTo>
                    <a:pt x="247383" y="4508"/>
                  </a:moveTo>
                  <a:lnTo>
                    <a:pt x="0" y="4508"/>
                  </a:lnTo>
                  <a:lnTo>
                    <a:pt x="0" y="73088"/>
                  </a:lnTo>
                  <a:lnTo>
                    <a:pt x="84886" y="73088"/>
                  </a:lnTo>
                  <a:lnTo>
                    <a:pt x="84886" y="308038"/>
                  </a:lnTo>
                  <a:lnTo>
                    <a:pt x="162928" y="308038"/>
                  </a:lnTo>
                  <a:lnTo>
                    <a:pt x="162928" y="73088"/>
                  </a:lnTo>
                  <a:lnTo>
                    <a:pt x="247383" y="73088"/>
                  </a:lnTo>
                  <a:lnTo>
                    <a:pt x="247383" y="4508"/>
                  </a:lnTo>
                  <a:close/>
                </a:path>
                <a:path w="554355" h="313690">
                  <a:moveTo>
                    <a:pt x="554139" y="81254"/>
                  </a:moveTo>
                  <a:lnTo>
                    <a:pt x="535305" y="51714"/>
                  </a:lnTo>
                  <a:lnTo>
                    <a:pt x="507720" y="25654"/>
                  </a:lnTo>
                  <a:lnTo>
                    <a:pt x="469734" y="7086"/>
                  </a:lnTo>
                  <a:lnTo>
                    <a:pt x="419760" y="0"/>
                  </a:lnTo>
                  <a:lnTo>
                    <a:pt x="368109" y="7315"/>
                  </a:lnTo>
                  <a:lnTo>
                    <a:pt x="323684" y="28206"/>
                  </a:lnTo>
                  <a:lnTo>
                    <a:pt x="288937" y="61087"/>
                  </a:lnTo>
                  <a:lnTo>
                    <a:pt x="266293" y="104419"/>
                  </a:lnTo>
                  <a:lnTo>
                    <a:pt x="258191" y="156603"/>
                  </a:lnTo>
                  <a:lnTo>
                    <a:pt x="266280" y="208622"/>
                  </a:lnTo>
                  <a:lnTo>
                    <a:pt x="288912" y="251929"/>
                  </a:lnTo>
                  <a:lnTo>
                    <a:pt x="323672" y="284886"/>
                  </a:lnTo>
                  <a:lnTo>
                    <a:pt x="368096" y="305854"/>
                  </a:lnTo>
                  <a:lnTo>
                    <a:pt x="419760" y="313207"/>
                  </a:lnTo>
                  <a:lnTo>
                    <a:pt x="469798" y="306006"/>
                  </a:lnTo>
                  <a:lnTo>
                    <a:pt x="507885" y="287223"/>
                  </a:lnTo>
                  <a:lnTo>
                    <a:pt x="535495" y="261124"/>
                  </a:lnTo>
                  <a:lnTo>
                    <a:pt x="554139" y="231952"/>
                  </a:lnTo>
                  <a:lnTo>
                    <a:pt x="486943" y="200190"/>
                  </a:lnTo>
                  <a:lnTo>
                    <a:pt x="476643" y="217208"/>
                  </a:lnTo>
                  <a:lnTo>
                    <a:pt x="461352" y="231216"/>
                  </a:lnTo>
                  <a:lnTo>
                    <a:pt x="442074" y="240703"/>
                  </a:lnTo>
                  <a:lnTo>
                    <a:pt x="419760" y="244208"/>
                  </a:lnTo>
                  <a:lnTo>
                    <a:pt x="387032" y="237477"/>
                  </a:lnTo>
                  <a:lnTo>
                    <a:pt x="361010" y="218960"/>
                  </a:lnTo>
                  <a:lnTo>
                    <a:pt x="343827" y="191160"/>
                  </a:lnTo>
                  <a:lnTo>
                    <a:pt x="337629" y="156603"/>
                  </a:lnTo>
                  <a:lnTo>
                    <a:pt x="343827" y="122047"/>
                  </a:lnTo>
                  <a:lnTo>
                    <a:pt x="360984" y="94246"/>
                  </a:lnTo>
                  <a:lnTo>
                    <a:pt x="387007" y="75730"/>
                  </a:lnTo>
                  <a:lnTo>
                    <a:pt x="419760" y="69011"/>
                  </a:lnTo>
                  <a:lnTo>
                    <a:pt x="442074" y="72504"/>
                  </a:lnTo>
                  <a:lnTo>
                    <a:pt x="461352" y="81991"/>
                  </a:lnTo>
                  <a:lnTo>
                    <a:pt x="476643" y="95999"/>
                  </a:lnTo>
                  <a:lnTo>
                    <a:pt x="486943" y="113030"/>
                  </a:lnTo>
                  <a:lnTo>
                    <a:pt x="554139" y="81254"/>
                  </a:lnTo>
                  <a:close/>
                </a:path>
              </a:pathLst>
            </a:custGeom>
            <a:solidFill>
              <a:srgbClr val="FFFFFF"/>
            </a:solidFill>
          </p:spPr>
          <p:txBody>
            <a:bodyPr wrap="square" lIns="0" tIns="0" rIns="0" bIns="0" rtlCol="0"/>
            <a:lstStyle/>
            <a:p>
              <a:endParaRPr kern="0">
                <a:solidFill>
                  <a:sysClr val="windowText" lastClr="000000"/>
                </a:solidFill>
              </a:endParaRPr>
            </a:p>
          </p:txBody>
        </p:sp>
      </p:grpSp>
      <p:sp>
        <p:nvSpPr>
          <p:cNvPr id="2" name="object 24">
            <a:extLst>
              <a:ext uri="{FF2B5EF4-FFF2-40B4-BE49-F238E27FC236}">
                <a16:creationId xmlns:a16="http://schemas.microsoft.com/office/drawing/2014/main" id="{B1DEB4FF-BB03-B2ED-944F-4531CE17BF7E}"/>
              </a:ext>
            </a:extLst>
          </p:cNvPr>
          <p:cNvSpPr/>
          <p:nvPr userDrawn="1"/>
        </p:nvSpPr>
        <p:spPr>
          <a:xfrm>
            <a:off x="1588" y="343463"/>
            <a:ext cx="152457" cy="6170641"/>
          </a:xfrm>
          <a:custGeom>
            <a:avLst/>
            <a:gdLst/>
            <a:ahLst/>
            <a:cxnLst/>
            <a:rect l="l" t="t" r="r" b="b"/>
            <a:pathLst>
              <a:path w="251460" h="10177780">
                <a:moveTo>
                  <a:pt x="251301" y="0"/>
                </a:moveTo>
                <a:lnTo>
                  <a:pt x="0" y="0"/>
                </a:lnTo>
                <a:lnTo>
                  <a:pt x="0" y="10177700"/>
                </a:lnTo>
                <a:lnTo>
                  <a:pt x="251301" y="10177700"/>
                </a:lnTo>
                <a:lnTo>
                  <a:pt x="251301" y="0"/>
                </a:lnTo>
                <a:close/>
              </a:path>
            </a:pathLst>
          </a:custGeom>
          <a:solidFill>
            <a:schemeClr val="accent3"/>
          </a:solidFill>
        </p:spPr>
        <p:txBody>
          <a:bodyPr wrap="square" lIns="0" tIns="0" rIns="0" bIns="0" rtlCol="0"/>
          <a:lstStyle/>
          <a:p>
            <a:endParaRPr kern="0">
              <a:solidFill>
                <a:sysClr val="windowText" lastClr="000000"/>
              </a:solidFill>
            </a:endParaRPr>
          </a:p>
        </p:txBody>
      </p:sp>
    </p:spTree>
    <p:extLst>
      <p:ext uri="{BB962C8B-B14F-4D97-AF65-F5344CB8AC3E}">
        <p14:creationId xmlns:p14="http://schemas.microsoft.com/office/powerpoint/2010/main" val="6869806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485E03-52E8-3AF3-2238-DAC8C9B6193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C16F05C-4BB9-7C82-C709-68EA2F74B897}"/>
              </a:ext>
            </a:extLst>
          </p:cNvPr>
          <p:cNvSpPr>
            <a:spLocks noGrp="1"/>
          </p:cNvSpPr>
          <p:nvPr>
            <p:ph type="dt" sz="half" idx="10"/>
          </p:nvPr>
        </p:nvSpPr>
        <p:spPr/>
        <p:txBody>
          <a:bodyPr/>
          <a:lstStyle/>
          <a:p>
            <a:fld id="{538BA0BE-9994-4243-B399-F1EA7335824C}" type="datetime1">
              <a:rPr lang="en-US" smtClean="0"/>
              <a:t>4/2/2025</a:t>
            </a:fld>
            <a:endParaRPr lang="en-US"/>
          </a:p>
        </p:txBody>
      </p:sp>
      <p:sp>
        <p:nvSpPr>
          <p:cNvPr id="4" name="Footer Placeholder 3">
            <a:extLst>
              <a:ext uri="{FF2B5EF4-FFF2-40B4-BE49-F238E27FC236}">
                <a16:creationId xmlns:a16="http://schemas.microsoft.com/office/drawing/2014/main" id="{B562C211-B566-11DA-A38D-90605158656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7048A19-F166-EDA1-0B00-A974B424E906}"/>
              </a:ext>
            </a:extLst>
          </p:cNvPr>
          <p:cNvSpPr>
            <a:spLocks noGrp="1"/>
          </p:cNvSpPr>
          <p:nvPr>
            <p:ph type="sldNum" sz="quarter" idx="12"/>
          </p:nvPr>
        </p:nvSpPr>
        <p:spPr/>
        <p:txBody>
          <a:bodyPr/>
          <a:lstStyle/>
          <a:p>
            <a:fld id="{FF7D9A68-EC15-4B1F-850C-8A6CCAFA90D8}" type="slidenum">
              <a:rPr lang="en-US" smtClean="0"/>
              <a:t>‹#›</a:t>
            </a:fld>
            <a:endParaRPr lang="en-US"/>
          </a:p>
        </p:txBody>
      </p:sp>
    </p:spTree>
    <p:extLst>
      <p:ext uri="{BB962C8B-B14F-4D97-AF65-F5344CB8AC3E}">
        <p14:creationId xmlns:p14="http://schemas.microsoft.com/office/powerpoint/2010/main" val="377223887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Only" preserve="1">
  <p:cSld name="Title Only - Dark">
    <p:bg>
      <p:bgPr>
        <a:solidFill>
          <a:schemeClr val="tx2"/>
        </a:solidFill>
        <a:effectLst/>
      </p:bgPr>
    </p:bg>
    <p:spTree>
      <p:nvGrpSpPr>
        <p:cNvPr id="1" name=""/>
        <p:cNvGrpSpPr/>
        <p:nvPr/>
      </p:nvGrpSpPr>
      <p:grpSpPr>
        <a:xfrm>
          <a:off x="0" y="0"/>
          <a:ext cx="0" cy="0"/>
          <a:chOff x="0" y="0"/>
          <a:chExt cx="0" cy="0"/>
        </a:xfrm>
      </p:grpSpPr>
      <p:sp>
        <p:nvSpPr>
          <p:cNvPr id="7" name="Page Number">
            <a:extLst>
              <a:ext uri="{FF2B5EF4-FFF2-40B4-BE49-F238E27FC236}">
                <a16:creationId xmlns:a16="http://schemas.microsoft.com/office/drawing/2014/main" id="{8EE183D6-F853-D28F-DEF8-905FC1CA4927}"/>
              </a:ext>
            </a:extLst>
          </p:cNvPr>
          <p:cNvSpPr txBox="1"/>
          <p:nvPr userDrawn="1"/>
        </p:nvSpPr>
        <p:spPr>
          <a:xfrm>
            <a:off x="11566535" y="6234575"/>
            <a:ext cx="279503" cy="283464"/>
          </a:xfrm>
          <a:prstGeom prst="rect">
            <a:avLst/>
          </a:prstGeom>
          <a:solidFill>
            <a:srgbClr val="FFD700"/>
          </a:solidFill>
        </p:spPr>
        <p:txBody>
          <a:bodyPr vert="horz" wrap="square" lIns="0" tIns="38884" rIns="0" bIns="0" rtlCol="0">
            <a:spAutoFit/>
          </a:bodyPr>
          <a:lstStyle/>
          <a:p>
            <a:pPr marL="55825" algn="ctr">
              <a:spcBef>
                <a:spcPts val="306"/>
              </a:spcBef>
            </a:pPr>
            <a:endParaRPr sz="1182">
              <a:latin typeface="Real Head Pro"/>
              <a:cs typeface="Real Head Pro"/>
            </a:endParaRPr>
          </a:p>
        </p:txBody>
      </p:sp>
      <p:sp>
        <p:nvSpPr>
          <p:cNvPr id="2" name="Title 1">
            <a:extLst>
              <a:ext uri="{FF2B5EF4-FFF2-40B4-BE49-F238E27FC236}">
                <a16:creationId xmlns:a16="http://schemas.microsoft.com/office/drawing/2014/main" id="{0F485E03-52E8-3AF3-2238-DAC8C9B61935}"/>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8C16F05C-4BB9-7C82-C709-68EA2F74B897}"/>
              </a:ext>
            </a:extLst>
          </p:cNvPr>
          <p:cNvSpPr>
            <a:spLocks noGrp="1"/>
          </p:cNvSpPr>
          <p:nvPr>
            <p:ph type="dt" sz="half" idx="10"/>
          </p:nvPr>
        </p:nvSpPr>
        <p:spPr/>
        <p:txBody>
          <a:bodyPr/>
          <a:lstStyle>
            <a:lvl1pPr>
              <a:defRPr>
                <a:solidFill>
                  <a:schemeClr val="bg1"/>
                </a:solidFill>
              </a:defRPr>
            </a:lvl1pPr>
          </a:lstStyle>
          <a:p>
            <a:fld id="{BB73F1C2-9DBF-430B-A4AA-5518C9FCA26A}" type="datetime1">
              <a:rPr lang="en-US" smtClean="0"/>
              <a:t>4/2/2025</a:t>
            </a:fld>
            <a:endParaRPr lang="en-US"/>
          </a:p>
        </p:txBody>
      </p:sp>
      <p:sp>
        <p:nvSpPr>
          <p:cNvPr id="4" name="Footer Placeholder 3">
            <a:extLst>
              <a:ext uri="{FF2B5EF4-FFF2-40B4-BE49-F238E27FC236}">
                <a16:creationId xmlns:a16="http://schemas.microsoft.com/office/drawing/2014/main" id="{B562C211-B566-11DA-A38D-906051586563}"/>
              </a:ext>
            </a:extLst>
          </p:cNvPr>
          <p:cNvSpPr>
            <a:spLocks noGrp="1"/>
          </p:cNvSpPr>
          <p:nvPr>
            <p:ph type="ftr" sz="quarter" idx="11"/>
          </p:nvPr>
        </p:nvSpPr>
        <p:spPr/>
        <p:txBody>
          <a:bodyPr/>
          <a:lstStyle>
            <a:lvl1pPr>
              <a:defRPr>
                <a:solidFill>
                  <a:schemeClr val="bg1"/>
                </a:solidFill>
              </a:defRPr>
            </a:lvl1pPr>
          </a:lstStyle>
          <a:p>
            <a:endParaRPr lang="en-US"/>
          </a:p>
        </p:txBody>
      </p:sp>
      <p:sp>
        <p:nvSpPr>
          <p:cNvPr id="5" name="Slide Number Placeholder 4">
            <a:extLst>
              <a:ext uri="{FF2B5EF4-FFF2-40B4-BE49-F238E27FC236}">
                <a16:creationId xmlns:a16="http://schemas.microsoft.com/office/drawing/2014/main" id="{A7048A19-F166-EDA1-0B00-A974B424E906}"/>
              </a:ext>
            </a:extLst>
          </p:cNvPr>
          <p:cNvSpPr>
            <a:spLocks noGrp="1"/>
          </p:cNvSpPr>
          <p:nvPr>
            <p:ph type="sldNum" sz="quarter" idx="12"/>
          </p:nvPr>
        </p:nvSpPr>
        <p:spPr/>
        <p:txBody>
          <a:bodyPr/>
          <a:lstStyle/>
          <a:p>
            <a:fld id="{FF7D9A68-EC15-4B1F-850C-8A6CCAFA90D8}" type="slidenum">
              <a:rPr lang="en-US" smtClean="0"/>
              <a:t>‹#›</a:t>
            </a:fld>
            <a:endParaRPr lang="en-US"/>
          </a:p>
        </p:txBody>
      </p:sp>
    </p:spTree>
    <p:extLst>
      <p:ext uri="{BB962C8B-B14F-4D97-AF65-F5344CB8AC3E}">
        <p14:creationId xmlns:p14="http://schemas.microsoft.com/office/powerpoint/2010/main" val="313749552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itleOnly" preserve="1">
  <p:cSld name="Title Only and Grapic - Dark">
    <p:bg>
      <p:bgPr>
        <a:solidFill>
          <a:schemeClr val="tx2"/>
        </a:solidFill>
        <a:effectLst/>
      </p:bgPr>
    </p:bg>
    <p:spTree>
      <p:nvGrpSpPr>
        <p:cNvPr id="1" name=""/>
        <p:cNvGrpSpPr/>
        <p:nvPr/>
      </p:nvGrpSpPr>
      <p:grpSpPr>
        <a:xfrm>
          <a:off x="0" y="0"/>
          <a:ext cx="0" cy="0"/>
          <a:chOff x="0" y="0"/>
          <a:chExt cx="0" cy="0"/>
        </a:xfrm>
      </p:grpSpPr>
      <p:sp>
        <p:nvSpPr>
          <p:cNvPr id="7" name="Page Number">
            <a:extLst>
              <a:ext uri="{FF2B5EF4-FFF2-40B4-BE49-F238E27FC236}">
                <a16:creationId xmlns:a16="http://schemas.microsoft.com/office/drawing/2014/main" id="{8EE183D6-F853-D28F-DEF8-905FC1CA4927}"/>
              </a:ext>
            </a:extLst>
          </p:cNvPr>
          <p:cNvSpPr txBox="1"/>
          <p:nvPr userDrawn="1"/>
        </p:nvSpPr>
        <p:spPr>
          <a:xfrm>
            <a:off x="11566535" y="6234575"/>
            <a:ext cx="279503" cy="283464"/>
          </a:xfrm>
          <a:prstGeom prst="rect">
            <a:avLst/>
          </a:prstGeom>
          <a:solidFill>
            <a:srgbClr val="FFD700"/>
          </a:solidFill>
        </p:spPr>
        <p:txBody>
          <a:bodyPr vert="horz" wrap="square" lIns="0" tIns="38884" rIns="0" bIns="0" rtlCol="0">
            <a:spAutoFit/>
          </a:bodyPr>
          <a:lstStyle/>
          <a:p>
            <a:pPr marL="55825" algn="ctr">
              <a:spcBef>
                <a:spcPts val="306"/>
              </a:spcBef>
            </a:pPr>
            <a:endParaRPr sz="1182">
              <a:latin typeface="Real Head Pro"/>
              <a:cs typeface="Real Head Pro"/>
            </a:endParaRPr>
          </a:p>
        </p:txBody>
      </p:sp>
      <p:sp>
        <p:nvSpPr>
          <p:cNvPr id="2" name="Title 1">
            <a:extLst>
              <a:ext uri="{FF2B5EF4-FFF2-40B4-BE49-F238E27FC236}">
                <a16:creationId xmlns:a16="http://schemas.microsoft.com/office/drawing/2014/main" id="{0F485E03-52E8-3AF3-2238-DAC8C9B61935}"/>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8C16F05C-4BB9-7C82-C709-68EA2F74B897}"/>
              </a:ext>
            </a:extLst>
          </p:cNvPr>
          <p:cNvSpPr>
            <a:spLocks noGrp="1"/>
          </p:cNvSpPr>
          <p:nvPr>
            <p:ph type="dt" sz="half" idx="10"/>
          </p:nvPr>
        </p:nvSpPr>
        <p:spPr/>
        <p:txBody>
          <a:bodyPr/>
          <a:lstStyle>
            <a:lvl1pPr>
              <a:defRPr>
                <a:solidFill>
                  <a:schemeClr val="bg1"/>
                </a:solidFill>
              </a:defRPr>
            </a:lvl1pPr>
          </a:lstStyle>
          <a:p>
            <a:fld id="{BB73F1C2-9DBF-430B-A4AA-5518C9FCA26A}" type="datetime1">
              <a:rPr lang="en-US" smtClean="0"/>
              <a:t>4/2/2025</a:t>
            </a:fld>
            <a:endParaRPr lang="en-US"/>
          </a:p>
        </p:txBody>
      </p:sp>
      <p:sp>
        <p:nvSpPr>
          <p:cNvPr id="4" name="Footer Placeholder 3">
            <a:extLst>
              <a:ext uri="{FF2B5EF4-FFF2-40B4-BE49-F238E27FC236}">
                <a16:creationId xmlns:a16="http://schemas.microsoft.com/office/drawing/2014/main" id="{B562C211-B566-11DA-A38D-906051586563}"/>
              </a:ext>
            </a:extLst>
          </p:cNvPr>
          <p:cNvSpPr>
            <a:spLocks noGrp="1"/>
          </p:cNvSpPr>
          <p:nvPr>
            <p:ph type="ftr" sz="quarter" idx="11"/>
          </p:nvPr>
        </p:nvSpPr>
        <p:spPr/>
        <p:txBody>
          <a:bodyPr/>
          <a:lstStyle>
            <a:lvl1pPr>
              <a:defRPr>
                <a:solidFill>
                  <a:schemeClr val="bg1"/>
                </a:solidFill>
              </a:defRPr>
            </a:lvl1pPr>
          </a:lstStyle>
          <a:p>
            <a:endParaRPr lang="en-US"/>
          </a:p>
        </p:txBody>
      </p:sp>
      <p:sp>
        <p:nvSpPr>
          <p:cNvPr id="5" name="Slide Number Placeholder 4">
            <a:extLst>
              <a:ext uri="{FF2B5EF4-FFF2-40B4-BE49-F238E27FC236}">
                <a16:creationId xmlns:a16="http://schemas.microsoft.com/office/drawing/2014/main" id="{A7048A19-F166-EDA1-0B00-A974B424E906}"/>
              </a:ext>
            </a:extLst>
          </p:cNvPr>
          <p:cNvSpPr>
            <a:spLocks noGrp="1"/>
          </p:cNvSpPr>
          <p:nvPr>
            <p:ph type="sldNum" sz="quarter" idx="12"/>
          </p:nvPr>
        </p:nvSpPr>
        <p:spPr/>
        <p:txBody>
          <a:bodyPr/>
          <a:lstStyle/>
          <a:p>
            <a:fld id="{FF7D9A68-EC15-4B1F-850C-8A6CCAFA90D8}" type="slidenum">
              <a:rPr lang="en-US" smtClean="0"/>
              <a:t>‹#›</a:t>
            </a:fld>
            <a:endParaRPr lang="en-US"/>
          </a:p>
        </p:txBody>
      </p:sp>
      <p:sp>
        <p:nvSpPr>
          <p:cNvPr id="6" name="object 24">
            <a:extLst>
              <a:ext uri="{FF2B5EF4-FFF2-40B4-BE49-F238E27FC236}">
                <a16:creationId xmlns:a16="http://schemas.microsoft.com/office/drawing/2014/main" id="{923F10B5-0EAF-6574-7B70-A5790ADE8361}"/>
              </a:ext>
            </a:extLst>
          </p:cNvPr>
          <p:cNvSpPr/>
          <p:nvPr userDrawn="1"/>
        </p:nvSpPr>
        <p:spPr>
          <a:xfrm>
            <a:off x="1588" y="343463"/>
            <a:ext cx="152457" cy="6170641"/>
          </a:xfrm>
          <a:custGeom>
            <a:avLst/>
            <a:gdLst/>
            <a:ahLst/>
            <a:cxnLst/>
            <a:rect l="l" t="t" r="r" b="b"/>
            <a:pathLst>
              <a:path w="251460" h="10177780">
                <a:moveTo>
                  <a:pt x="251301" y="0"/>
                </a:moveTo>
                <a:lnTo>
                  <a:pt x="0" y="0"/>
                </a:lnTo>
                <a:lnTo>
                  <a:pt x="0" y="10177700"/>
                </a:lnTo>
                <a:lnTo>
                  <a:pt x="251301" y="10177700"/>
                </a:lnTo>
                <a:lnTo>
                  <a:pt x="251301" y="0"/>
                </a:lnTo>
                <a:close/>
              </a:path>
            </a:pathLst>
          </a:custGeom>
          <a:solidFill>
            <a:schemeClr val="accent3"/>
          </a:solidFill>
        </p:spPr>
        <p:txBody>
          <a:bodyPr wrap="square" lIns="0" tIns="0" rIns="0" bIns="0" rtlCol="0"/>
          <a:lstStyle/>
          <a:p>
            <a:endParaRPr kern="0">
              <a:solidFill>
                <a:sysClr val="windowText" lastClr="000000"/>
              </a:solidFill>
            </a:endParaRPr>
          </a:p>
        </p:txBody>
      </p:sp>
      <p:pic>
        <p:nvPicPr>
          <p:cNvPr id="9" name="Graphic 8">
            <a:extLst>
              <a:ext uri="{FF2B5EF4-FFF2-40B4-BE49-F238E27FC236}">
                <a16:creationId xmlns:a16="http://schemas.microsoft.com/office/drawing/2014/main" id="{545671BB-9D70-6394-3CA1-0669A22FCB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55910" y="6285404"/>
            <a:ext cx="706755" cy="192024"/>
          </a:xfrm>
          <a:prstGeom prst="rect">
            <a:avLst/>
          </a:prstGeom>
        </p:spPr>
      </p:pic>
    </p:spTree>
    <p:extLst>
      <p:ext uri="{BB962C8B-B14F-4D97-AF65-F5344CB8AC3E}">
        <p14:creationId xmlns:p14="http://schemas.microsoft.com/office/powerpoint/2010/main" val="18720937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5870015-9A62-2C02-7BD2-F275AB4AF854}"/>
              </a:ext>
            </a:extLst>
          </p:cNvPr>
          <p:cNvSpPr>
            <a:spLocks noGrp="1"/>
          </p:cNvSpPr>
          <p:nvPr>
            <p:ph type="dt" sz="half" idx="10"/>
          </p:nvPr>
        </p:nvSpPr>
        <p:spPr/>
        <p:txBody>
          <a:bodyPr/>
          <a:lstStyle/>
          <a:p>
            <a:fld id="{243139FF-B04F-4566-AC6A-BE4BBC61C198}" type="datetime1">
              <a:rPr lang="en-US" smtClean="0"/>
              <a:t>4/2/2025</a:t>
            </a:fld>
            <a:endParaRPr lang="en-US"/>
          </a:p>
        </p:txBody>
      </p:sp>
      <p:sp>
        <p:nvSpPr>
          <p:cNvPr id="3" name="Footer Placeholder 2">
            <a:extLst>
              <a:ext uri="{FF2B5EF4-FFF2-40B4-BE49-F238E27FC236}">
                <a16:creationId xmlns:a16="http://schemas.microsoft.com/office/drawing/2014/main" id="{9FCFD7FA-AEA0-713A-E792-321BDE147F1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A060607-3010-8CD5-437F-E75A0ED77BF6}"/>
              </a:ext>
            </a:extLst>
          </p:cNvPr>
          <p:cNvSpPr>
            <a:spLocks noGrp="1"/>
          </p:cNvSpPr>
          <p:nvPr>
            <p:ph type="sldNum" sz="quarter" idx="12"/>
          </p:nvPr>
        </p:nvSpPr>
        <p:spPr/>
        <p:txBody>
          <a:bodyPr/>
          <a:lstStyle/>
          <a:p>
            <a:fld id="{FF7D9A68-EC15-4B1F-850C-8A6CCAFA90D8}" type="slidenum">
              <a:rPr lang="en-US" smtClean="0"/>
              <a:t>‹#›</a:t>
            </a:fld>
            <a:endParaRPr lang="en-US"/>
          </a:p>
        </p:txBody>
      </p:sp>
    </p:spTree>
    <p:extLst>
      <p:ext uri="{BB962C8B-B14F-4D97-AF65-F5344CB8AC3E}">
        <p14:creationId xmlns:p14="http://schemas.microsoft.com/office/powerpoint/2010/main" val="257031990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blank" preserve="1">
  <p:cSld name="Blank - Dark">
    <p:bg>
      <p:bgPr>
        <a:solidFill>
          <a:schemeClr val="tx2"/>
        </a:solidFill>
        <a:effectLst/>
      </p:bgPr>
    </p:bg>
    <p:spTree>
      <p:nvGrpSpPr>
        <p:cNvPr id="1" name=""/>
        <p:cNvGrpSpPr/>
        <p:nvPr/>
      </p:nvGrpSpPr>
      <p:grpSpPr>
        <a:xfrm>
          <a:off x="0" y="0"/>
          <a:ext cx="0" cy="0"/>
          <a:chOff x="0" y="0"/>
          <a:chExt cx="0" cy="0"/>
        </a:xfrm>
      </p:grpSpPr>
      <p:sp>
        <p:nvSpPr>
          <p:cNvPr id="6" name="Page Number">
            <a:extLst>
              <a:ext uri="{FF2B5EF4-FFF2-40B4-BE49-F238E27FC236}">
                <a16:creationId xmlns:a16="http://schemas.microsoft.com/office/drawing/2014/main" id="{E133D786-C931-675B-A005-340B90EACC02}"/>
              </a:ext>
            </a:extLst>
          </p:cNvPr>
          <p:cNvSpPr txBox="1"/>
          <p:nvPr userDrawn="1"/>
        </p:nvSpPr>
        <p:spPr>
          <a:xfrm>
            <a:off x="11566535" y="6234575"/>
            <a:ext cx="279503" cy="283464"/>
          </a:xfrm>
          <a:prstGeom prst="rect">
            <a:avLst/>
          </a:prstGeom>
          <a:solidFill>
            <a:srgbClr val="FFD700"/>
          </a:solidFill>
        </p:spPr>
        <p:txBody>
          <a:bodyPr vert="horz" wrap="square" lIns="0" tIns="38884" rIns="0" bIns="0" rtlCol="0">
            <a:spAutoFit/>
          </a:bodyPr>
          <a:lstStyle/>
          <a:p>
            <a:pPr marL="55825" algn="ctr">
              <a:spcBef>
                <a:spcPts val="306"/>
              </a:spcBef>
            </a:pPr>
            <a:endParaRPr sz="1182">
              <a:latin typeface="Real Head Pro"/>
              <a:cs typeface="Real Head Pro"/>
            </a:endParaRPr>
          </a:p>
        </p:txBody>
      </p:sp>
      <p:sp>
        <p:nvSpPr>
          <p:cNvPr id="2" name="Date Placeholder 1">
            <a:extLst>
              <a:ext uri="{FF2B5EF4-FFF2-40B4-BE49-F238E27FC236}">
                <a16:creationId xmlns:a16="http://schemas.microsoft.com/office/drawing/2014/main" id="{35870015-9A62-2C02-7BD2-F275AB4AF854}"/>
              </a:ext>
            </a:extLst>
          </p:cNvPr>
          <p:cNvSpPr>
            <a:spLocks noGrp="1"/>
          </p:cNvSpPr>
          <p:nvPr>
            <p:ph type="dt" sz="half" idx="10"/>
          </p:nvPr>
        </p:nvSpPr>
        <p:spPr/>
        <p:txBody>
          <a:bodyPr/>
          <a:lstStyle/>
          <a:p>
            <a:fld id="{6BF89FEA-874B-4123-AEAC-B44B8ED09FC7}" type="datetime1">
              <a:rPr lang="en-US" smtClean="0"/>
              <a:t>4/2/2025</a:t>
            </a:fld>
            <a:endParaRPr lang="en-US"/>
          </a:p>
        </p:txBody>
      </p:sp>
      <p:sp>
        <p:nvSpPr>
          <p:cNvPr id="3" name="Footer Placeholder 2">
            <a:extLst>
              <a:ext uri="{FF2B5EF4-FFF2-40B4-BE49-F238E27FC236}">
                <a16:creationId xmlns:a16="http://schemas.microsoft.com/office/drawing/2014/main" id="{9FCFD7FA-AEA0-713A-E792-321BDE147F1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A060607-3010-8CD5-437F-E75A0ED77BF6}"/>
              </a:ext>
            </a:extLst>
          </p:cNvPr>
          <p:cNvSpPr>
            <a:spLocks noGrp="1"/>
          </p:cNvSpPr>
          <p:nvPr>
            <p:ph type="sldNum" sz="quarter" idx="12"/>
          </p:nvPr>
        </p:nvSpPr>
        <p:spPr/>
        <p:txBody>
          <a:bodyPr/>
          <a:lstStyle/>
          <a:p>
            <a:fld id="{FF7D9A68-EC15-4B1F-850C-8A6CCAFA90D8}" type="slidenum">
              <a:rPr lang="en-US" smtClean="0"/>
              <a:t>‹#›</a:t>
            </a:fld>
            <a:endParaRPr lang="en-US"/>
          </a:p>
        </p:txBody>
      </p:sp>
    </p:spTree>
    <p:extLst>
      <p:ext uri="{BB962C8B-B14F-4D97-AF65-F5344CB8AC3E}">
        <p14:creationId xmlns:p14="http://schemas.microsoft.com/office/powerpoint/2010/main" val="67557342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blank" preserve="1">
  <p:cSld name="Blank - Light">
    <p:bg>
      <p:bgPr>
        <a:solidFill>
          <a:schemeClr val="accent5"/>
        </a:solidFill>
        <a:effectLst/>
      </p:bgPr>
    </p:bg>
    <p:spTree>
      <p:nvGrpSpPr>
        <p:cNvPr id="1" name=""/>
        <p:cNvGrpSpPr/>
        <p:nvPr/>
      </p:nvGrpSpPr>
      <p:grpSpPr>
        <a:xfrm>
          <a:off x="0" y="0"/>
          <a:ext cx="0" cy="0"/>
          <a:chOff x="0" y="0"/>
          <a:chExt cx="0" cy="0"/>
        </a:xfrm>
      </p:grpSpPr>
      <p:sp>
        <p:nvSpPr>
          <p:cNvPr id="9" name="object 5">
            <a:extLst>
              <a:ext uri="{FF2B5EF4-FFF2-40B4-BE49-F238E27FC236}">
                <a16:creationId xmlns:a16="http://schemas.microsoft.com/office/drawing/2014/main" id="{64C2460B-3784-6BE4-CD6F-5537EC96C99E}"/>
              </a:ext>
            </a:extLst>
          </p:cNvPr>
          <p:cNvSpPr txBox="1"/>
          <p:nvPr userDrawn="1"/>
        </p:nvSpPr>
        <p:spPr>
          <a:xfrm>
            <a:off x="11566535" y="6234576"/>
            <a:ext cx="279503" cy="221173"/>
          </a:xfrm>
          <a:prstGeom prst="rect">
            <a:avLst/>
          </a:prstGeom>
          <a:solidFill>
            <a:srgbClr val="FFD700"/>
          </a:solidFill>
        </p:spPr>
        <p:txBody>
          <a:bodyPr vert="horz" wrap="square" lIns="0" tIns="38884" rIns="0" bIns="0" rtlCol="0">
            <a:spAutoFit/>
          </a:bodyPr>
          <a:lstStyle/>
          <a:p>
            <a:pPr marL="55825" algn="ctr">
              <a:spcBef>
                <a:spcPts val="306"/>
              </a:spcBef>
            </a:pPr>
            <a:endParaRPr sz="1182">
              <a:latin typeface="Real Head Pro"/>
              <a:cs typeface="Real Head Pro"/>
            </a:endParaRPr>
          </a:p>
        </p:txBody>
      </p:sp>
      <p:sp>
        <p:nvSpPr>
          <p:cNvPr id="2" name="Date Placeholder 1">
            <a:extLst>
              <a:ext uri="{FF2B5EF4-FFF2-40B4-BE49-F238E27FC236}">
                <a16:creationId xmlns:a16="http://schemas.microsoft.com/office/drawing/2014/main" id="{35870015-9A62-2C02-7BD2-F275AB4AF854}"/>
              </a:ext>
            </a:extLst>
          </p:cNvPr>
          <p:cNvSpPr>
            <a:spLocks noGrp="1"/>
          </p:cNvSpPr>
          <p:nvPr>
            <p:ph type="dt" sz="half" idx="10"/>
          </p:nvPr>
        </p:nvSpPr>
        <p:spPr/>
        <p:txBody>
          <a:bodyPr/>
          <a:lstStyle/>
          <a:p>
            <a:fld id="{B0ABF74A-D32C-4F14-8776-841B01B639EB}" type="datetime1">
              <a:rPr lang="en-US" smtClean="0"/>
              <a:t>4/2/2025</a:t>
            </a:fld>
            <a:endParaRPr lang="en-US"/>
          </a:p>
        </p:txBody>
      </p:sp>
      <p:sp>
        <p:nvSpPr>
          <p:cNvPr id="3" name="Footer Placeholder 2">
            <a:extLst>
              <a:ext uri="{FF2B5EF4-FFF2-40B4-BE49-F238E27FC236}">
                <a16:creationId xmlns:a16="http://schemas.microsoft.com/office/drawing/2014/main" id="{9FCFD7FA-AEA0-713A-E792-321BDE147F1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A060607-3010-8CD5-437F-E75A0ED77BF6}"/>
              </a:ext>
            </a:extLst>
          </p:cNvPr>
          <p:cNvSpPr>
            <a:spLocks noGrp="1"/>
          </p:cNvSpPr>
          <p:nvPr>
            <p:ph type="sldNum" sz="quarter" idx="12"/>
          </p:nvPr>
        </p:nvSpPr>
        <p:spPr/>
        <p:txBody>
          <a:bodyPr/>
          <a:lstStyle/>
          <a:p>
            <a:fld id="{FF7D9A68-EC15-4B1F-850C-8A6CCAFA90D8}" type="slidenum">
              <a:rPr lang="en-US" smtClean="0"/>
              <a:t>‹#›</a:t>
            </a:fld>
            <a:endParaRPr lang="en-US"/>
          </a:p>
        </p:txBody>
      </p:sp>
      <p:pic>
        <p:nvPicPr>
          <p:cNvPr id="10" name="object 33">
            <a:extLst>
              <a:ext uri="{FF2B5EF4-FFF2-40B4-BE49-F238E27FC236}">
                <a16:creationId xmlns:a16="http://schemas.microsoft.com/office/drawing/2014/main" id="{FA30C9C4-0767-E031-E12B-0E9683C177E6}"/>
              </a:ext>
            </a:extLst>
          </p:cNvPr>
          <p:cNvPicPr/>
          <p:nvPr userDrawn="1"/>
        </p:nvPicPr>
        <p:blipFill>
          <a:blip r:embed="rId2" cstate="print"/>
          <a:stretch>
            <a:fillRect/>
          </a:stretch>
        </p:blipFill>
        <p:spPr>
          <a:xfrm>
            <a:off x="10765411" y="6277900"/>
            <a:ext cx="697550" cy="192832"/>
          </a:xfrm>
          <a:prstGeom prst="rect">
            <a:avLst/>
          </a:prstGeom>
        </p:spPr>
      </p:pic>
    </p:spTree>
    <p:extLst>
      <p:ext uri="{BB962C8B-B14F-4D97-AF65-F5344CB8AC3E}">
        <p14:creationId xmlns:p14="http://schemas.microsoft.com/office/powerpoint/2010/main" val="32645180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F42569B-14C1-480A-826C-27D70A3288BE}" type="datetimeFigureOut">
              <a:rPr lang="en-US" smtClean="0"/>
              <a:t>4/2/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B05F229-852D-4A77-95BA-3D996206520B}" type="slidenum">
              <a:rPr lang="en-US" smtClean="0"/>
              <a:t>‹#›</a:t>
            </a:fld>
            <a:endParaRPr lang="en-US"/>
          </a:p>
        </p:txBody>
      </p:sp>
    </p:spTree>
    <p:extLst>
      <p:ext uri="{BB962C8B-B14F-4D97-AF65-F5344CB8AC3E}">
        <p14:creationId xmlns:p14="http://schemas.microsoft.com/office/powerpoint/2010/main" val="424346495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blank" preserve="1">
  <p:cSld name="Blank with Graphic - Dark">
    <p:bg>
      <p:bgPr>
        <a:solidFill>
          <a:schemeClr val="tx2"/>
        </a:solidFill>
        <a:effectLst/>
      </p:bgPr>
    </p:bg>
    <p:spTree>
      <p:nvGrpSpPr>
        <p:cNvPr id="1" name=""/>
        <p:cNvGrpSpPr/>
        <p:nvPr/>
      </p:nvGrpSpPr>
      <p:grpSpPr>
        <a:xfrm>
          <a:off x="0" y="0"/>
          <a:ext cx="0" cy="0"/>
          <a:chOff x="0" y="0"/>
          <a:chExt cx="0" cy="0"/>
        </a:xfrm>
      </p:grpSpPr>
      <p:sp>
        <p:nvSpPr>
          <p:cNvPr id="7" name="Page Number">
            <a:extLst>
              <a:ext uri="{FF2B5EF4-FFF2-40B4-BE49-F238E27FC236}">
                <a16:creationId xmlns:a16="http://schemas.microsoft.com/office/drawing/2014/main" id="{254066EF-6807-E717-D7EA-0C80799E8E42}"/>
              </a:ext>
            </a:extLst>
          </p:cNvPr>
          <p:cNvSpPr txBox="1"/>
          <p:nvPr userDrawn="1"/>
        </p:nvSpPr>
        <p:spPr>
          <a:xfrm>
            <a:off x="11566535" y="6234575"/>
            <a:ext cx="279503" cy="283464"/>
          </a:xfrm>
          <a:prstGeom prst="rect">
            <a:avLst/>
          </a:prstGeom>
          <a:solidFill>
            <a:srgbClr val="FFD700"/>
          </a:solidFill>
        </p:spPr>
        <p:txBody>
          <a:bodyPr vert="horz" wrap="square" lIns="0" tIns="38884" rIns="0" bIns="0" rtlCol="0">
            <a:spAutoFit/>
          </a:bodyPr>
          <a:lstStyle/>
          <a:p>
            <a:pPr marL="55825" algn="ctr">
              <a:spcBef>
                <a:spcPts val="306"/>
              </a:spcBef>
            </a:pPr>
            <a:endParaRPr sz="1182">
              <a:latin typeface="Real Head Pro"/>
              <a:cs typeface="Real Head Pro"/>
            </a:endParaRPr>
          </a:p>
        </p:txBody>
      </p:sp>
      <p:sp>
        <p:nvSpPr>
          <p:cNvPr id="2" name="Date Placeholder 1">
            <a:extLst>
              <a:ext uri="{FF2B5EF4-FFF2-40B4-BE49-F238E27FC236}">
                <a16:creationId xmlns:a16="http://schemas.microsoft.com/office/drawing/2014/main" id="{35870015-9A62-2C02-7BD2-F275AB4AF854}"/>
              </a:ext>
            </a:extLst>
          </p:cNvPr>
          <p:cNvSpPr>
            <a:spLocks noGrp="1"/>
          </p:cNvSpPr>
          <p:nvPr>
            <p:ph type="dt" sz="half" idx="10"/>
          </p:nvPr>
        </p:nvSpPr>
        <p:spPr/>
        <p:txBody>
          <a:bodyPr/>
          <a:lstStyle/>
          <a:p>
            <a:fld id="{94CF7D28-80A9-4E48-A9B0-F0E233A578F2}" type="datetime1">
              <a:rPr lang="en-US" smtClean="0"/>
              <a:t>4/2/2025</a:t>
            </a:fld>
            <a:endParaRPr lang="en-US"/>
          </a:p>
        </p:txBody>
      </p:sp>
      <p:sp>
        <p:nvSpPr>
          <p:cNvPr id="3" name="Footer Placeholder 2">
            <a:extLst>
              <a:ext uri="{FF2B5EF4-FFF2-40B4-BE49-F238E27FC236}">
                <a16:creationId xmlns:a16="http://schemas.microsoft.com/office/drawing/2014/main" id="{9FCFD7FA-AEA0-713A-E792-321BDE147F1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A060607-3010-8CD5-437F-E75A0ED77BF6}"/>
              </a:ext>
            </a:extLst>
          </p:cNvPr>
          <p:cNvSpPr>
            <a:spLocks noGrp="1"/>
          </p:cNvSpPr>
          <p:nvPr>
            <p:ph type="sldNum" sz="quarter" idx="12"/>
          </p:nvPr>
        </p:nvSpPr>
        <p:spPr/>
        <p:txBody>
          <a:bodyPr/>
          <a:lstStyle/>
          <a:p>
            <a:fld id="{FF7D9A68-EC15-4B1F-850C-8A6CCAFA90D8}" type="slidenum">
              <a:rPr lang="en-US" smtClean="0"/>
              <a:t>‹#›</a:t>
            </a:fld>
            <a:endParaRPr lang="en-US"/>
          </a:p>
        </p:txBody>
      </p:sp>
      <p:sp>
        <p:nvSpPr>
          <p:cNvPr id="6" name="object 13">
            <a:extLst>
              <a:ext uri="{FF2B5EF4-FFF2-40B4-BE49-F238E27FC236}">
                <a16:creationId xmlns:a16="http://schemas.microsoft.com/office/drawing/2014/main" id="{5A7AC934-0BBF-C9DE-CA45-F2C00A75FDFE}"/>
              </a:ext>
            </a:extLst>
          </p:cNvPr>
          <p:cNvSpPr/>
          <p:nvPr userDrawn="1"/>
        </p:nvSpPr>
        <p:spPr>
          <a:xfrm>
            <a:off x="-1" y="343462"/>
            <a:ext cx="152457" cy="6170641"/>
          </a:xfrm>
          <a:custGeom>
            <a:avLst/>
            <a:gdLst/>
            <a:ahLst/>
            <a:cxnLst/>
            <a:rect l="l" t="t" r="r" b="b"/>
            <a:pathLst>
              <a:path w="251460" h="10177780">
                <a:moveTo>
                  <a:pt x="251301" y="0"/>
                </a:moveTo>
                <a:lnTo>
                  <a:pt x="0" y="0"/>
                </a:lnTo>
                <a:lnTo>
                  <a:pt x="0" y="10177700"/>
                </a:lnTo>
                <a:lnTo>
                  <a:pt x="251301" y="10177700"/>
                </a:lnTo>
                <a:lnTo>
                  <a:pt x="251301" y="0"/>
                </a:lnTo>
                <a:close/>
              </a:path>
            </a:pathLst>
          </a:custGeom>
          <a:solidFill>
            <a:schemeClr val="accent3"/>
          </a:solidFill>
        </p:spPr>
        <p:txBody>
          <a:bodyPr wrap="square" lIns="0" tIns="0" rIns="0" bIns="0" rtlCol="0"/>
          <a:lstStyle/>
          <a:p>
            <a:endParaRPr/>
          </a:p>
        </p:txBody>
      </p:sp>
    </p:spTree>
    <p:extLst>
      <p:ext uri="{BB962C8B-B14F-4D97-AF65-F5344CB8AC3E}">
        <p14:creationId xmlns:p14="http://schemas.microsoft.com/office/powerpoint/2010/main" val="418018599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with Graphic - Light">
    <p:bg>
      <p:bgPr>
        <a:solidFill>
          <a:schemeClr val="accent5"/>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5870015-9A62-2C02-7BD2-F275AB4AF854}"/>
              </a:ext>
            </a:extLst>
          </p:cNvPr>
          <p:cNvSpPr>
            <a:spLocks noGrp="1"/>
          </p:cNvSpPr>
          <p:nvPr>
            <p:ph type="dt" sz="half" idx="10"/>
          </p:nvPr>
        </p:nvSpPr>
        <p:spPr/>
        <p:txBody>
          <a:bodyPr/>
          <a:lstStyle/>
          <a:p>
            <a:fld id="{4C0C3303-FCFD-4063-8F03-6BEB288F2207}" type="datetime1">
              <a:rPr lang="en-US" smtClean="0"/>
              <a:t>4/2/2025</a:t>
            </a:fld>
            <a:endParaRPr lang="en-US"/>
          </a:p>
        </p:txBody>
      </p:sp>
      <p:sp>
        <p:nvSpPr>
          <p:cNvPr id="3" name="Footer Placeholder 2">
            <a:extLst>
              <a:ext uri="{FF2B5EF4-FFF2-40B4-BE49-F238E27FC236}">
                <a16:creationId xmlns:a16="http://schemas.microsoft.com/office/drawing/2014/main" id="{9FCFD7FA-AEA0-713A-E792-321BDE147F1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A060607-3010-8CD5-437F-E75A0ED77BF6}"/>
              </a:ext>
            </a:extLst>
          </p:cNvPr>
          <p:cNvSpPr>
            <a:spLocks noGrp="1"/>
          </p:cNvSpPr>
          <p:nvPr>
            <p:ph type="sldNum" sz="quarter" idx="12"/>
          </p:nvPr>
        </p:nvSpPr>
        <p:spPr/>
        <p:txBody>
          <a:bodyPr/>
          <a:lstStyle/>
          <a:p>
            <a:fld id="{FF7D9A68-EC15-4B1F-850C-8A6CCAFA90D8}" type="slidenum">
              <a:rPr lang="en-US" smtClean="0"/>
              <a:t>‹#›</a:t>
            </a:fld>
            <a:endParaRPr lang="en-US"/>
          </a:p>
        </p:txBody>
      </p:sp>
      <p:sp>
        <p:nvSpPr>
          <p:cNvPr id="10" name="object 24">
            <a:extLst>
              <a:ext uri="{FF2B5EF4-FFF2-40B4-BE49-F238E27FC236}">
                <a16:creationId xmlns:a16="http://schemas.microsoft.com/office/drawing/2014/main" id="{306EB93F-C8D6-D93C-4614-5D988C41B1D1}"/>
              </a:ext>
            </a:extLst>
          </p:cNvPr>
          <p:cNvSpPr/>
          <p:nvPr userDrawn="1"/>
        </p:nvSpPr>
        <p:spPr>
          <a:xfrm>
            <a:off x="-1" y="343462"/>
            <a:ext cx="152457" cy="6170641"/>
          </a:xfrm>
          <a:custGeom>
            <a:avLst/>
            <a:gdLst/>
            <a:ahLst/>
            <a:cxnLst/>
            <a:rect l="l" t="t" r="r" b="b"/>
            <a:pathLst>
              <a:path w="251460" h="10177780">
                <a:moveTo>
                  <a:pt x="251301" y="0"/>
                </a:moveTo>
                <a:lnTo>
                  <a:pt x="0" y="0"/>
                </a:lnTo>
                <a:lnTo>
                  <a:pt x="0" y="10177700"/>
                </a:lnTo>
                <a:lnTo>
                  <a:pt x="251301" y="10177700"/>
                </a:lnTo>
                <a:lnTo>
                  <a:pt x="251301" y="0"/>
                </a:lnTo>
                <a:close/>
              </a:path>
            </a:pathLst>
          </a:custGeom>
          <a:solidFill>
            <a:schemeClr val="accent6"/>
          </a:solidFill>
        </p:spPr>
        <p:txBody>
          <a:bodyPr wrap="square" lIns="0" tIns="0" rIns="0" bIns="0" rtlCol="0"/>
          <a:lstStyle/>
          <a:p>
            <a:endParaRPr/>
          </a:p>
        </p:txBody>
      </p:sp>
    </p:spTree>
    <p:extLst>
      <p:ext uri="{BB962C8B-B14F-4D97-AF65-F5344CB8AC3E}">
        <p14:creationId xmlns:p14="http://schemas.microsoft.com/office/powerpoint/2010/main" val="9809227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nd Subtitle with Graphic - Light">
    <p:bg>
      <p:bgPr>
        <a:solidFill>
          <a:schemeClr val="accent5"/>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5870015-9A62-2C02-7BD2-F275AB4AF854}"/>
              </a:ext>
            </a:extLst>
          </p:cNvPr>
          <p:cNvSpPr>
            <a:spLocks noGrp="1"/>
          </p:cNvSpPr>
          <p:nvPr>
            <p:ph type="dt" sz="half" idx="10"/>
          </p:nvPr>
        </p:nvSpPr>
        <p:spPr/>
        <p:txBody>
          <a:bodyPr/>
          <a:lstStyle/>
          <a:p>
            <a:fld id="{4C0C3303-FCFD-4063-8F03-6BEB288F2207}" type="datetime1">
              <a:rPr lang="en-US" smtClean="0"/>
              <a:t>4/2/2025</a:t>
            </a:fld>
            <a:endParaRPr lang="en-US"/>
          </a:p>
        </p:txBody>
      </p:sp>
      <p:sp>
        <p:nvSpPr>
          <p:cNvPr id="3" name="Footer Placeholder 2">
            <a:extLst>
              <a:ext uri="{FF2B5EF4-FFF2-40B4-BE49-F238E27FC236}">
                <a16:creationId xmlns:a16="http://schemas.microsoft.com/office/drawing/2014/main" id="{9FCFD7FA-AEA0-713A-E792-321BDE147F1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A060607-3010-8CD5-437F-E75A0ED77BF6}"/>
              </a:ext>
            </a:extLst>
          </p:cNvPr>
          <p:cNvSpPr>
            <a:spLocks noGrp="1"/>
          </p:cNvSpPr>
          <p:nvPr>
            <p:ph type="sldNum" sz="quarter" idx="12"/>
          </p:nvPr>
        </p:nvSpPr>
        <p:spPr/>
        <p:txBody>
          <a:bodyPr/>
          <a:lstStyle/>
          <a:p>
            <a:fld id="{FF7D9A68-EC15-4B1F-850C-8A6CCAFA90D8}" type="slidenum">
              <a:rPr lang="en-US" smtClean="0"/>
              <a:t>‹#›</a:t>
            </a:fld>
            <a:endParaRPr lang="en-US"/>
          </a:p>
        </p:txBody>
      </p:sp>
      <p:sp>
        <p:nvSpPr>
          <p:cNvPr id="10" name="object 24">
            <a:extLst>
              <a:ext uri="{FF2B5EF4-FFF2-40B4-BE49-F238E27FC236}">
                <a16:creationId xmlns:a16="http://schemas.microsoft.com/office/drawing/2014/main" id="{306EB93F-C8D6-D93C-4614-5D988C41B1D1}"/>
              </a:ext>
            </a:extLst>
          </p:cNvPr>
          <p:cNvSpPr/>
          <p:nvPr userDrawn="1"/>
        </p:nvSpPr>
        <p:spPr>
          <a:xfrm>
            <a:off x="-1" y="343462"/>
            <a:ext cx="152457" cy="6170641"/>
          </a:xfrm>
          <a:custGeom>
            <a:avLst/>
            <a:gdLst/>
            <a:ahLst/>
            <a:cxnLst/>
            <a:rect l="l" t="t" r="r" b="b"/>
            <a:pathLst>
              <a:path w="251460" h="10177780">
                <a:moveTo>
                  <a:pt x="251301" y="0"/>
                </a:moveTo>
                <a:lnTo>
                  <a:pt x="0" y="0"/>
                </a:lnTo>
                <a:lnTo>
                  <a:pt x="0" y="10177700"/>
                </a:lnTo>
                <a:lnTo>
                  <a:pt x="251301" y="10177700"/>
                </a:lnTo>
                <a:lnTo>
                  <a:pt x="251301" y="0"/>
                </a:lnTo>
                <a:close/>
              </a:path>
            </a:pathLst>
          </a:custGeom>
          <a:solidFill>
            <a:schemeClr val="accent6"/>
          </a:solidFill>
        </p:spPr>
        <p:txBody>
          <a:bodyPr wrap="square" lIns="0" tIns="0" rIns="0" bIns="0" rtlCol="0"/>
          <a:lstStyle/>
          <a:p>
            <a:endParaRPr/>
          </a:p>
        </p:txBody>
      </p:sp>
      <p:sp>
        <p:nvSpPr>
          <p:cNvPr id="5" name="Text Placeholder 32">
            <a:extLst>
              <a:ext uri="{FF2B5EF4-FFF2-40B4-BE49-F238E27FC236}">
                <a16:creationId xmlns:a16="http://schemas.microsoft.com/office/drawing/2014/main" id="{DA6F0ED0-0FD3-65D2-3940-15E027784B2D}"/>
              </a:ext>
            </a:extLst>
          </p:cNvPr>
          <p:cNvSpPr>
            <a:spLocks noGrp="1"/>
          </p:cNvSpPr>
          <p:nvPr>
            <p:ph type="body" sz="quarter" idx="14" hasCustomPrompt="1"/>
          </p:nvPr>
        </p:nvSpPr>
        <p:spPr>
          <a:xfrm>
            <a:off x="763623" y="332656"/>
            <a:ext cx="10972800" cy="914400"/>
          </a:xfrm>
        </p:spPr>
        <p:txBody>
          <a:bodyPr anchor="b"/>
          <a:lstStyle>
            <a:lvl1pPr marL="0" indent="0">
              <a:spcBef>
                <a:spcPts val="0"/>
              </a:spcBef>
              <a:buNone/>
              <a:defRPr sz="3150">
                <a:solidFill>
                  <a:schemeClr val="tx2"/>
                </a:solidFill>
                <a:latin typeface="+mj-lt"/>
              </a:defRPr>
            </a:lvl1pPr>
          </a:lstStyle>
          <a:p>
            <a:pPr lvl="0"/>
            <a:r>
              <a:rPr lang="en-US"/>
              <a:t>Heading</a:t>
            </a:r>
          </a:p>
        </p:txBody>
      </p:sp>
      <p:sp>
        <p:nvSpPr>
          <p:cNvPr id="6" name="Text Placeholder 9">
            <a:extLst>
              <a:ext uri="{FF2B5EF4-FFF2-40B4-BE49-F238E27FC236}">
                <a16:creationId xmlns:a16="http://schemas.microsoft.com/office/drawing/2014/main" id="{69BCB541-0D39-E317-030C-744EDB1E5561}"/>
              </a:ext>
            </a:extLst>
          </p:cNvPr>
          <p:cNvSpPr>
            <a:spLocks noGrp="1"/>
          </p:cNvSpPr>
          <p:nvPr>
            <p:ph type="body" sz="quarter" idx="15"/>
          </p:nvPr>
        </p:nvSpPr>
        <p:spPr>
          <a:xfrm>
            <a:off x="763623" y="1304764"/>
            <a:ext cx="10972800" cy="457200"/>
          </a:xfrm>
        </p:spPr>
        <p:txBody>
          <a:bodyPr/>
          <a:lstStyle>
            <a:lvl1pPr marL="0" indent="0">
              <a:buNone/>
              <a:defRPr sz="2400" b="0">
                <a:solidFill>
                  <a:schemeClr val="tx2"/>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33356451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E47DD3-9A28-20B7-106F-A7D622A78B0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F8BA8DE-6D39-0DFA-2C2C-4A94EE954B0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47CA7EA-00BE-B07B-69A4-951B0B77DCE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71F3721-2D51-9B7C-B4D0-80BF25885EF5}"/>
              </a:ext>
            </a:extLst>
          </p:cNvPr>
          <p:cNvSpPr>
            <a:spLocks noGrp="1"/>
          </p:cNvSpPr>
          <p:nvPr>
            <p:ph type="dt" sz="half" idx="10"/>
          </p:nvPr>
        </p:nvSpPr>
        <p:spPr/>
        <p:txBody>
          <a:bodyPr/>
          <a:lstStyle/>
          <a:p>
            <a:fld id="{7C76EEE1-C06E-49CA-A8B7-35182D47ADE6}" type="datetime1">
              <a:rPr lang="en-US" smtClean="0"/>
              <a:t>4/2/2025</a:t>
            </a:fld>
            <a:endParaRPr lang="en-US"/>
          </a:p>
        </p:txBody>
      </p:sp>
      <p:sp>
        <p:nvSpPr>
          <p:cNvPr id="6" name="Footer Placeholder 5">
            <a:extLst>
              <a:ext uri="{FF2B5EF4-FFF2-40B4-BE49-F238E27FC236}">
                <a16:creationId xmlns:a16="http://schemas.microsoft.com/office/drawing/2014/main" id="{9289D493-A7F1-472F-77BF-7406DFD243B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1885909-2305-A25D-AA39-4A3E786D179F}"/>
              </a:ext>
            </a:extLst>
          </p:cNvPr>
          <p:cNvSpPr>
            <a:spLocks noGrp="1"/>
          </p:cNvSpPr>
          <p:nvPr>
            <p:ph type="sldNum" sz="quarter" idx="12"/>
          </p:nvPr>
        </p:nvSpPr>
        <p:spPr/>
        <p:txBody>
          <a:bodyPr/>
          <a:lstStyle/>
          <a:p>
            <a:fld id="{FF7D9A68-EC15-4B1F-850C-8A6CCAFA90D8}" type="slidenum">
              <a:rPr lang="en-US" smtClean="0"/>
              <a:t>‹#›</a:t>
            </a:fld>
            <a:endParaRPr lang="en-US"/>
          </a:p>
        </p:txBody>
      </p:sp>
    </p:spTree>
    <p:extLst>
      <p:ext uri="{BB962C8B-B14F-4D97-AF65-F5344CB8AC3E}">
        <p14:creationId xmlns:p14="http://schemas.microsoft.com/office/powerpoint/2010/main" val="124561635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D5F5B0-FCF7-C054-A0A0-EF2464919BB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0A50164-2FE7-4894-0EB7-29C321FFC7B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C00A43B-EE69-3929-31DA-2308C24F89C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1FD221F-ADA2-C616-780B-D76DA17CB782}"/>
              </a:ext>
            </a:extLst>
          </p:cNvPr>
          <p:cNvSpPr>
            <a:spLocks noGrp="1"/>
          </p:cNvSpPr>
          <p:nvPr>
            <p:ph type="dt" sz="half" idx="10"/>
          </p:nvPr>
        </p:nvSpPr>
        <p:spPr/>
        <p:txBody>
          <a:bodyPr/>
          <a:lstStyle/>
          <a:p>
            <a:fld id="{6BB004E4-0C2E-4579-BDA6-6C672E272DDD}" type="datetime1">
              <a:rPr lang="en-US" smtClean="0"/>
              <a:t>4/2/2025</a:t>
            </a:fld>
            <a:endParaRPr lang="en-US"/>
          </a:p>
        </p:txBody>
      </p:sp>
      <p:sp>
        <p:nvSpPr>
          <p:cNvPr id="6" name="Footer Placeholder 5">
            <a:extLst>
              <a:ext uri="{FF2B5EF4-FFF2-40B4-BE49-F238E27FC236}">
                <a16:creationId xmlns:a16="http://schemas.microsoft.com/office/drawing/2014/main" id="{7FBDD454-B39B-0723-0C07-46519F7ED55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EF5B6FD-5EFF-0FDB-0E64-345F2DC22FE4}"/>
              </a:ext>
            </a:extLst>
          </p:cNvPr>
          <p:cNvSpPr>
            <a:spLocks noGrp="1"/>
          </p:cNvSpPr>
          <p:nvPr>
            <p:ph type="sldNum" sz="quarter" idx="12"/>
          </p:nvPr>
        </p:nvSpPr>
        <p:spPr/>
        <p:txBody>
          <a:bodyPr/>
          <a:lstStyle/>
          <a:p>
            <a:fld id="{FF7D9A68-EC15-4B1F-850C-8A6CCAFA90D8}" type="slidenum">
              <a:rPr lang="en-US" smtClean="0"/>
              <a:t>‹#›</a:t>
            </a:fld>
            <a:endParaRPr lang="en-US"/>
          </a:p>
        </p:txBody>
      </p:sp>
    </p:spTree>
    <p:extLst>
      <p:ext uri="{BB962C8B-B14F-4D97-AF65-F5344CB8AC3E}">
        <p14:creationId xmlns:p14="http://schemas.microsoft.com/office/powerpoint/2010/main" val="376009309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CE6F96-E21B-B82A-77FB-3DC3F4809EF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A102F33-3BB0-4117-0879-6FAEA424ABC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5B19554-F9A6-D524-DD58-A34A75D4573B}"/>
              </a:ext>
            </a:extLst>
          </p:cNvPr>
          <p:cNvSpPr>
            <a:spLocks noGrp="1"/>
          </p:cNvSpPr>
          <p:nvPr>
            <p:ph type="dt" sz="half" idx="10"/>
          </p:nvPr>
        </p:nvSpPr>
        <p:spPr/>
        <p:txBody>
          <a:bodyPr/>
          <a:lstStyle/>
          <a:p>
            <a:fld id="{7FE83BEA-70FB-4150-8A6D-0BC56C981B33}" type="datetime1">
              <a:rPr lang="en-US" smtClean="0"/>
              <a:t>4/2/2025</a:t>
            </a:fld>
            <a:endParaRPr lang="en-US"/>
          </a:p>
        </p:txBody>
      </p:sp>
      <p:sp>
        <p:nvSpPr>
          <p:cNvPr id="5" name="Footer Placeholder 4">
            <a:extLst>
              <a:ext uri="{FF2B5EF4-FFF2-40B4-BE49-F238E27FC236}">
                <a16:creationId xmlns:a16="http://schemas.microsoft.com/office/drawing/2014/main" id="{9144039B-7F7E-13C7-65C3-C010B48E892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B6B7DB1-E49E-FA85-3E14-8AA7CB509AB5}"/>
              </a:ext>
            </a:extLst>
          </p:cNvPr>
          <p:cNvSpPr>
            <a:spLocks noGrp="1"/>
          </p:cNvSpPr>
          <p:nvPr>
            <p:ph type="sldNum" sz="quarter" idx="12"/>
          </p:nvPr>
        </p:nvSpPr>
        <p:spPr/>
        <p:txBody>
          <a:bodyPr/>
          <a:lstStyle/>
          <a:p>
            <a:fld id="{FF7D9A68-EC15-4B1F-850C-8A6CCAFA90D8}" type="slidenum">
              <a:rPr lang="en-US" smtClean="0"/>
              <a:t>‹#›</a:t>
            </a:fld>
            <a:endParaRPr lang="en-US"/>
          </a:p>
        </p:txBody>
      </p:sp>
    </p:spTree>
    <p:extLst>
      <p:ext uri="{BB962C8B-B14F-4D97-AF65-F5344CB8AC3E}">
        <p14:creationId xmlns:p14="http://schemas.microsoft.com/office/powerpoint/2010/main" val="56358053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B96A7E2-ED0E-91CB-7567-B848BA955C3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D39F628-8909-5E8E-E6A7-EBDB83321BE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233D4A8-51B8-10C7-4231-8879015929C6}"/>
              </a:ext>
            </a:extLst>
          </p:cNvPr>
          <p:cNvSpPr>
            <a:spLocks noGrp="1"/>
          </p:cNvSpPr>
          <p:nvPr>
            <p:ph type="dt" sz="half" idx="10"/>
          </p:nvPr>
        </p:nvSpPr>
        <p:spPr/>
        <p:txBody>
          <a:bodyPr/>
          <a:lstStyle/>
          <a:p>
            <a:fld id="{5A085F99-A0B7-4AB9-959A-127516EF02C2}" type="datetime1">
              <a:rPr lang="en-US" smtClean="0"/>
              <a:t>4/2/2025</a:t>
            </a:fld>
            <a:endParaRPr lang="en-US"/>
          </a:p>
        </p:txBody>
      </p:sp>
      <p:sp>
        <p:nvSpPr>
          <p:cNvPr id="5" name="Footer Placeholder 4">
            <a:extLst>
              <a:ext uri="{FF2B5EF4-FFF2-40B4-BE49-F238E27FC236}">
                <a16:creationId xmlns:a16="http://schemas.microsoft.com/office/drawing/2014/main" id="{49FE29CC-12FE-E4EC-4BAC-962C76F2881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BA9CD6-147F-D3D4-3BA1-75DFBC11EF41}"/>
              </a:ext>
            </a:extLst>
          </p:cNvPr>
          <p:cNvSpPr>
            <a:spLocks noGrp="1"/>
          </p:cNvSpPr>
          <p:nvPr>
            <p:ph type="sldNum" sz="quarter" idx="12"/>
          </p:nvPr>
        </p:nvSpPr>
        <p:spPr/>
        <p:txBody>
          <a:bodyPr/>
          <a:lstStyle/>
          <a:p>
            <a:fld id="{FF7D9A68-EC15-4B1F-850C-8A6CCAFA90D8}" type="slidenum">
              <a:rPr lang="en-US" smtClean="0"/>
              <a:t>‹#›</a:t>
            </a:fld>
            <a:endParaRPr lang="en-US"/>
          </a:p>
        </p:txBody>
      </p:sp>
    </p:spTree>
    <p:extLst>
      <p:ext uri="{BB962C8B-B14F-4D97-AF65-F5344CB8AC3E}">
        <p14:creationId xmlns:p14="http://schemas.microsoft.com/office/powerpoint/2010/main" val="199833384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5_Title with Overlay">
    <p:bg>
      <p:bgPr>
        <a:solidFill>
          <a:schemeClr val="tx2"/>
        </a:solidFill>
        <a:effectLst/>
      </p:bgPr>
    </p:bg>
    <p:spTree>
      <p:nvGrpSpPr>
        <p:cNvPr id="1" name=""/>
        <p:cNvGrpSpPr/>
        <p:nvPr/>
      </p:nvGrpSpPr>
      <p:grpSpPr>
        <a:xfrm>
          <a:off x="0" y="0"/>
          <a:ext cx="0" cy="0"/>
          <a:chOff x="0" y="0"/>
          <a:chExt cx="0" cy="0"/>
        </a:xfrm>
      </p:grpSpPr>
      <p:sp>
        <p:nvSpPr>
          <p:cNvPr id="25" name="Date Placeholder 24">
            <a:extLst>
              <a:ext uri="{FF2B5EF4-FFF2-40B4-BE49-F238E27FC236}">
                <a16:creationId xmlns:a16="http://schemas.microsoft.com/office/drawing/2014/main" id="{A57172BC-5EB5-C0CF-6CC0-97CFD6F72CB5}"/>
              </a:ext>
            </a:extLst>
          </p:cNvPr>
          <p:cNvSpPr>
            <a:spLocks noGrp="1"/>
          </p:cNvSpPr>
          <p:nvPr>
            <p:ph type="dt" sz="half" idx="10"/>
          </p:nvPr>
        </p:nvSpPr>
        <p:spPr/>
        <p:txBody>
          <a:bodyPr/>
          <a:lstStyle/>
          <a:p>
            <a:fld id="{51FAC167-1066-4F75-BBD8-AD23800D7D1F}" type="datetime1">
              <a:rPr lang="en-US" smtClean="0"/>
              <a:t>4/2/2025</a:t>
            </a:fld>
            <a:endParaRPr lang="en-US"/>
          </a:p>
        </p:txBody>
      </p:sp>
      <p:sp>
        <p:nvSpPr>
          <p:cNvPr id="26" name="Footer Placeholder 25">
            <a:extLst>
              <a:ext uri="{FF2B5EF4-FFF2-40B4-BE49-F238E27FC236}">
                <a16:creationId xmlns:a16="http://schemas.microsoft.com/office/drawing/2014/main" id="{92257F35-DE6E-9549-6ECF-1D42BE651129}"/>
              </a:ext>
            </a:extLst>
          </p:cNvPr>
          <p:cNvSpPr>
            <a:spLocks noGrp="1"/>
          </p:cNvSpPr>
          <p:nvPr>
            <p:ph type="ftr" sz="quarter" idx="11"/>
          </p:nvPr>
        </p:nvSpPr>
        <p:spPr/>
        <p:txBody>
          <a:bodyPr/>
          <a:lstStyle/>
          <a:p>
            <a:endParaRPr lang="en-US"/>
          </a:p>
        </p:txBody>
      </p:sp>
      <p:pic>
        <p:nvPicPr>
          <p:cNvPr id="4" name="object 4">
            <a:extLst>
              <a:ext uri="{FF2B5EF4-FFF2-40B4-BE49-F238E27FC236}">
                <a16:creationId xmlns:a16="http://schemas.microsoft.com/office/drawing/2014/main" id="{6B47318C-4C7C-9AC6-7295-C82E7586571D}"/>
              </a:ext>
            </a:extLst>
          </p:cNvPr>
          <p:cNvPicPr/>
          <p:nvPr/>
        </p:nvPicPr>
        <p:blipFill>
          <a:blip r:embed="rId2" cstate="print">
            <a:extLst>
              <a:ext uri="{BEBA8EAE-BF5A-486C-A8C5-ECC9F3942E4B}">
                <a14:imgProps xmlns:a14="http://schemas.microsoft.com/office/drawing/2010/main">
                  <a14:imgLayer r:embed="rId3">
                    <a14:imgEffect>
                      <a14:saturation sat="248000"/>
                    </a14:imgEffect>
                    <a14:imgEffect>
                      <a14:brightnessContrast bright="-39000"/>
                    </a14:imgEffect>
                  </a14:imgLayer>
                </a14:imgProps>
              </a:ext>
            </a:extLst>
          </a:blip>
          <a:stretch>
            <a:fillRect/>
          </a:stretch>
        </p:blipFill>
        <p:spPr>
          <a:xfrm>
            <a:off x="-8365" y="1785"/>
            <a:ext cx="12188825" cy="6856215"/>
          </a:xfrm>
          <a:prstGeom prst="rect">
            <a:avLst/>
          </a:prstGeom>
        </p:spPr>
      </p:pic>
      <p:sp>
        <p:nvSpPr>
          <p:cNvPr id="5" name="object 5">
            <a:extLst>
              <a:ext uri="{FF2B5EF4-FFF2-40B4-BE49-F238E27FC236}">
                <a16:creationId xmlns:a16="http://schemas.microsoft.com/office/drawing/2014/main" id="{67A66EC3-1C95-4734-B2D5-580258F8E8C3}"/>
              </a:ext>
            </a:extLst>
          </p:cNvPr>
          <p:cNvSpPr/>
          <p:nvPr/>
        </p:nvSpPr>
        <p:spPr>
          <a:xfrm>
            <a:off x="16343" y="4520"/>
            <a:ext cx="12188826" cy="6856312"/>
          </a:xfrm>
          <a:custGeom>
            <a:avLst/>
            <a:gdLst/>
            <a:ahLst/>
            <a:cxnLst/>
            <a:rect l="l" t="t" r="r" b="b"/>
            <a:pathLst>
              <a:path w="20104100" h="11308715">
                <a:moveTo>
                  <a:pt x="20104100" y="0"/>
                </a:moveTo>
                <a:lnTo>
                  <a:pt x="0" y="0"/>
                </a:lnTo>
                <a:lnTo>
                  <a:pt x="0" y="11308556"/>
                </a:lnTo>
                <a:lnTo>
                  <a:pt x="20104100" y="11308556"/>
                </a:lnTo>
                <a:lnTo>
                  <a:pt x="20104100" y="0"/>
                </a:lnTo>
                <a:close/>
              </a:path>
            </a:pathLst>
          </a:custGeom>
          <a:solidFill>
            <a:srgbClr val="A3AFB8">
              <a:alpha val="10000"/>
            </a:srgbClr>
          </a:solidFill>
        </p:spPr>
        <p:txBody>
          <a:bodyPr wrap="square" lIns="0" tIns="0" rIns="0" bIns="0" rtlCol="0"/>
          <a:lstStyle/>
          <a:p>
            <a:endParaRPr/>
          </a:p>
        </p:txBody>
      </p:sp>
      <p:pic>
        <p:nvPicPr>
          <p:cNvPr id="6" name="object 6">
            <a:extLst>
              <a:ext uri="{FF2B5EF4-FFF2-40B4-BE49-F238E27FC236}">
                <a16:creationId xmlns:a16="http://schemas.microsoft.com/office/drawing/2014/main" id="{A3B608DA-4897-AE5C-BF4F-4699CDEF9782}"/>
              </a:ext>
            </a:extLst>
          </p:cNvPr>
          <p:cNvPicPr/>
          <p:nvPr/>
        </p:nvPicPr>
        <p:blipFill>
          <a:blip r:embed="rId4" cstate="print">
            <a:alphaModFix amt="30000"/>
          </a:blip>
          <a:srcRect b="50000"/>
          <a:stretch/>
        </p:blipFill>
        <p:spPr>
          <a:xfrm>
            <a:off x="-13167" y="-3105"/>
            <a:ext cx="12188824" cy="6918255"/>
          </a:xfrm>
          <a:prstGeom prst="rect">
            <a:avLst/>
          </a:prstGeom>
        </p:spPr>
      </p:pic>
      <p:sp>
        <p:nvSpPr>
          <p:cNvPr id="19" name="Slide Number Box">
            <a:extLst>
              <a:ext uri="{FF2B5EF4-FFF2-40B4-BE49-F238E27FC236}">
                <a16:creationId xmlns:a16="http://schemas.microsoft.com/office/drawing/2014/main" id="{E4D665D4-9456-4BFE-7EC3-05AB4B0AE735}"/>
              </a:ext>
            </a:extLst>
          </p:cNvPr>
          <p:cNvSpPr txBox="1"/>
          <p:nvPr userDrawn="1"/>
        </p:nvSpPr>
        <p:spPr>
          <a:xfrm>
            <a:off x="11566535" y="6234575"/>
            <a:ext cx="279503" cy="283464"/>
          </a:xfrm>
          <a:prstGeom prst="rect">
            <a:avLst/>
          </a:prstGeom>
          <a:solidFill>
            <a:srgbClr val="FFD700"/>
          </a:solidFill>
        </p:spPr>
        <p:txBody>
          <a:bodyPr vert="horz" wrap="square" lIns="0" tIns="38884" rIns="0" bIns="0" rtlCol="0">
            <a:spAutoFit/>
          </a:bodyPr>
          <a:lstStyle/>
          <a:p>
            <a:pPr marL="55825" algn="ctr">
              <a:spcBef>
                <a:spcPts val="306"/>
              </a:spcBef>
            </a:pPr>
            <a:endParaRPr sz="1182">
              <a:latin typeface="Real Head Pro"/>
              <a:cs typeface="Real Head Pro"/>
            </a:endParaRPr>
          </a:p>
        </p:txBody>
      </p:sp>
      <p:sp>
        <p:nvSpPr>
          <p:cNvPr id="29" name="Slide Number Placeholder 29">
            <a:extLst>
              <a:ext uri="{FF2B5EF4-FFF2-40B4-BE49-F238E27FC236}">
                <a16:creationId xmlns:a16="http://schemas.microsoft.com/office/drawing/2014/main" id="{6E382458-B723-C4B9-E69F-E964EF9F325C}"/>
              </a:ext>
            </a:extLst>
          </p:cNvPr>
          <p:cNvSpPr>
            <a:spLocks noGrp="1"/>
          </p:cNvSpPr>
          <p:nvPr userDrawn="1">
            <p:ph type="sldNum" sz="quarter" idx="12"/>
          </p:nvPr>
        </p:nvSpPr>
        <p:spPr>
          <a:xfrm>
            <a:off x="11562574" y="6234576"/>
            <a:ext cx="283464" cy="283464"/>
          </a:xfrm>
        </p:spPr>
        <p:txBody>
          <a:bodyPr/>
          <a:lstStyle/>
          <a:p>
            <a:fld id="{FF7D9A68-EC15-4B1F-850C-8A6CCAFA90D8}" type="slidenum">
              <a:rPr lang="en-US" smtClean="0"/>
              <a:pPr/>
              <a:t>‹#›</a:t>
            </a:fld>
            <a:endParaRPr lang="en-US"/>
          </a:p>
        </p:txBody>
      </p:sp>
      <p:sp>
        <p:nvSpPr>
          <p:cNvPr id="24" name="Title 23">
            <a:extLst>
              <a:ext uri="{FF2B5EF4-FFF2-40B4-BE49-F238E27FC236}">
                <a16:creationId xmlns:a16="http://schemas.microsoft.com/office/drawing/2014/main" id="{CEBB91A9-6F0E-2D55-308F-665EE784ADE5}"/>
              </a:ext>
            </a:extLst>
          </p:cNvPr>
          <p:cNvSpPr>
            <a:spLocks noGrp="1"/>
          </p:cNvSpPr>
          <p:nvPr userDrawn="1">
            <p:ph type="title"/>
          </p:nvPr>
        </p:nvSpPr>
        <p:spPr/>
        <p:txBody>
          <a:bodyPr anchor="ctr"/>
          <a:lstStyle>
            <a:lvl1pPr>
              <a:defRPr>
                <a:solidFill>
                  <a:schemeClr val="bg1"/>
                </a:solidFill>
              </a:defRPr>
            </a:lvl1pPr>
          </a:lstStyle>
          <a:p>
            <a:r>
              <a:rPr lang="en-US"/>
              <a:t>Click to edit Master title style</a:t>
            </a:r>
          </a:p>
        </p:txBody>
      </p:sp>
      <p:grpSp>
        <p:nvGrpSpPr>
          <p:cNvPr id="2" name="Group 1">
            <a:extLst>
              <a:ext uri="{FF2B5EF4-FFF2-40B4-BE49-F238E27FC236}">
                <a16:creationId xmlns:a16="http://schemas.microsoft.com/office/drawing/2014/main" id="{67E97A98-1A8F-F0EA-B050-B07084D0E7EE}"/>
              </a:ext>
            </a:extLst>
          </p:cNvPr>
          <p:cNvGrpSpPr>
            <a:grpSpLocks noChangeAspect="1"/>
          </p:cNvGrpSpPr>
          <p:nvPr userDrawn="1"/>
        </p:nvGrpSpPr>
        <p:grpSpPr>
          <a:xfrm>
            <a:off x="9560283" y="6247999"/>
            <a:ext cx="1869482" cy="292608"/>
            <a:chOff x="9444187" y="508520"/>
            <a:chExt cx="2339198" cy="366127"/>
          </a:xfrm>
        </p:grpSpPr>
        <p:pic>
          <p:nvPicPr>
            <p:cNvPr id="3" name="object 4">
              <a:extLst>
                <a:ext uri="{FF2B5EF4-FFF2-40B4-BE49-F238E27FC236}">
                  <a16:creationId xmlns:a16="http://schemas.microsoft.com/office/drawing/2014/main" id="{5CC0B3D6-3270-B664-DC63-8DD4BB1463AF}"/>
                </a:ext>
              </a:extLst>
            </p:cNvPr>
            <p:cNvPicPr/>
            <p:nvPr/>
          </p:nvPicPr>
          <p:blipFill>
            <a:blip r:embed="rId5" cstate="print"/>
            <a:stretch>
              <a:fillRect/>
            </a:stretch>
          </p:blipFill>
          <p:spPr>
            <a:xfrm>
              <a:off x="9444187" y="568546"/>
              <a:ext cx="1372592" cy="246070"/>
            </a:xfrm>
            <a:prstGeom prst="rect">
              <a:avLst/>
            </a:prstGeom>
          </p:spPr>
        </p:pic>
        <p:sp>
          <p:nvSpPr>
            <p:cNvPr id="7" name="object 10">
              <a:extLst>
                <a:ext uri="{FF2B5EF4-FFF2-40B4-BE49-F238E27FC236}">
                  <a16:creationId xmlns:a16="http://schemas.microsoft.com/office/drawing/2014/main" id="{8B0292B1-5C5D-EA89-35C1-597B542D6D17}"/>
                </a:ext>
              </a:extLst>
            </p:cNvPr>
            <p:cNvSpPr/>
            <p:nvPr/>
          </p:nvSpPr>
          <p:spPr>
            <a:xfrm>
              <a:off x="10956631" y="508520"/>
              <a:ext cx="0" cy="366127"/>
            </a:xfrm>
            <a:custGeom>
              <a:avLst/>
              <a:gdLst/>
              <a:ahLst/>
              <a:cxnLst/>
              <a:rect l="l" t="t" r="r" b="b"/>
              <a:pathLst>
                <a:path h="603885">
                  <a:moveTo>
                    <a:pt x="0" y="0"/>
                  </a:moveTo>
                  <a:lnTo>
                    <a:pt x="0" y="603876"/>
                  </a:lnTo>
                </a:path>
              </a:pathLst>
            </a:custGeom>
            <a:ln w="8481">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Real Text Pro"/>
                <a:ea typeface="+mn-ea"/>
                <a:cs typeface="+mn-cs"/>
              </a:endParaRPr>
            </a:p>
          </p:txBody>
        </p:sp>
        <p:pic>
          <p:nvPicPr>
            <p:cNvPr id="8" name="object 24">
              <a:extLst>
                <a:ext uri="{FF2B5EF4-FFF2-40B4-BE49-F238E27FC236}">
                  <a16:creationId xmlns:a16="http://schemas.microsoft.com/office/drawing/2014/main" id="{91D31C4E-DF0E-AF3F-F019-D40F44AC23C7}"/>
                </a:ext>
              </a:extLst>
            </p:cNvPr>
            <p:cNvPicPr/>
            <p:nvPr/>
          </p:nvPicPr>
          <p:blipFill>
            <a:blip r:embed="rId6" cstate="print"/>
            <a:srcRect t="2" r="8299" b="42551"/>
            <a:stretch/>
          </p:blipFill>
          <p:spPr>
            <a:xfrm>
              <a:off x="11109501" y="589948"/>
              <a:ext cx="673884" cy="185327"/>
            </a:xfrm>
            <a:prstGeom prst="rect">
              <a:avLst/>
            </a:prstGeom>
          </p:spPr>
        </p:pic>
      </p:grpSp>
    </p:spTree>
    <p:extLst>
      <p:ext uri="{BB962C8B-B14F-4D97-AF65-F5344CB8AC3E}">
        <p14:creationId xmlns:p14="http://schemas.microsoft.com/office/powerpoint/2010/main" val="86447885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4_Tech Background Image">
    <p:bg>
      <p:bgPr>
        <a:solidFill>
          <a:schemeClr val="accent1"/>
        </a:solidFill>
        <a:effectLst/>
      </p:bgPr>
    </p:bg>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29D9B89B-6C49-FE14-4CC5-06BF022C9EFD}"/>
              </a:ext>
            </a:extLst>
          </p:cNvPr>
          <p:cNvPicPr>
            <a:picLocks noChangeAspect="1" noChangeArrowheads="1"/>
          </p:cNvPicPr>
          <p:nvPr userDrawn="1"/>
        </p:nvPicPr>
        <p:blipFill rotWithShape="1">
          <a:blip r:embed="rId2">
            <a:alphaModFix amt="25000"/>
            <a:extLst>
              <a:ext uri="{28A0092B-C50C-407E-A947-70E740481C1C}">
                <a14:useLocalDpi xmlns:a14="http://schemas.microsoft.com/office/drawing/2010/main" val="0"/>
              </a:ext>
            </a:extLst>
          </a:blip>
          <a:srcRect l="10754" t="14777" r="10573" b="6513"/>
          <a:stretch/>
        </p:blipFill>
        <p:spPr bwMode="auto">
          <a:xfrm>
            <a:off x="1588" y="0"/>
            <a:ext cx="12188824" cy="6858000"/>
          </a:xfrm>
          <a:prstGeom prst="rect">
            <a:avLst/>
          </a:prstGeom>
          <a:noFill/>
          <a:extLst>
            <a:ext uri="{909E8E84-426E-40DD-AFC4-6F175D3DCCD1}">
              <a14:hiddenFill xmlns:a14="http://schemas.microsoft.com/office/drawing/2010/main">
                <a:solidFill>
                  <a:srgbClr val="FFFFFF"/>
                </a:solidFill>
              </a14:hiddenFill>
            </a:ext>
          </a:extLst>
        </p:spPr>
      </p:pic>
      <p:pic>
        <p:nvPicPr>
          <p:cNvPr id="7" name="object 6">
            <a:extLst>
              <a:ext uri="{FF2B5EF4-FFF2-40B4-BE49-F238E27FC236}">
                <a16:creationId xmlns:a16="http://schemas.microsoft.com/office/drawing/2014/main" id="{AE39237E-7A8D-CC3A-789F-2C0F7108819C}"/>
              </a:ext>
            </a:extLst>
          </p:cNvPr>
          <p:cNvPicPr/>
          <p:nvPr userDrawn="1"/>
        </p:nvPicPr>
        <p:blipFill>
          <a:blip r:embed="rId3" cstate="print">
            <a:alphaModFix amt="15000"/>
          </a:blip>
          <a:stretch>
            <a:fillRect/>
          </a:stretch>
        </p:blipFill>
        <p:spPr>
          <a:xfrm>
            <a:off x="0" y="0"/>
            <a:ext cx="12344400" cy="7009507"/>
          </a:xfrm>
          <a:prstGeom prst="rect">
            <a:avLst/>
          </a:prstGeom>
        </p:spPr>
      </p:pic>
      <p:pic>
        <p:nvPicPr>
          <p:cNvPr id="6" name="object 6">
            <a:extLst>
              <a:ext uri="{FF2B5EF4-FFF2-40B4-BE49-F238E27FC236}">
                <a16:creationId xmlns:a16="http://schemas.microsoft.com/office/drawing/2014/main" id="{9708983F-1698-E50D-7FA5-483DE66E4A6A}"/>
              </a:ext>
            </a:extLst>
          </p:cNvPr>
          <p:cNvPicPr/>
          <p:nvPr userDrawn="1"/>
        </p:nvPicPr>
        <p:blipFill>
          <a:blip r:embed="rId3" cstate="print">
            <a:alphaModFix amt="15000"/>
          </a:blip>
          <a:stretch>
            <a:fillRect/>
          </a:stretch>
        </p:blipFill>
        <p:spPr>
          <a:xfrm>
            <a:off x="0" y="1786"/>
            <a:ext cx="12188824" cy="6856214"/>
          </a:xfrm>
          <a:prstGeom prst="rect">
            <a:avLst/>
          </a:prstGeom>
        </p:spPr>
      </p:pic>
      <p:sp>
        <p:nvSpPr>
          <p:cNvPr id="2" name="Title 1">
            <a:extLst>
              <a:ext uri="{FF2B5EF4-FFF2-40B4-BE49-F238E27FC236}">
                <a16:creationId xmlns:a16="http://schemas.microsoft.com/office/drawing/2014/main" id="{8B7410AC-AD64-E7AB-9C75-4011FECA552E}"/>
              </a:ext>
            </a:extLst>
          </p:cNvPr>
          <p:cNvSpPr>
            <a:spLocks noGrp="1"/>
          </p:cNvSpPr>
          <p:nvPr>
            <p:ph type="title"/>
          </p:nvPr>
        </p:nvSpPr>
        <p:spPr/>
        <p:txBody>
          <a:bodyPr anchor="ct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5F0C5D14-38AD-28B4-69C1-23A1DC77784E}"/>
              </a:ext>
            </a:extLst>
          </p:cNvPr>
          <p:cNvSpPr>
            <a:spLocks noGrp="1"/>
          </p:cNvSpPr>
          <p:nvPr>
            <p:ph type="dt" sz="half" idx="10"/>
          </p:nvPr>
        </p:nvSpPr>
        <p:spPr/>
        <p:txBody>
          <a:bodyPr/>
          <a:lstStyle/>
          <a:p>
            <a:fld id="{9A5D80D6-DF3C-4908-938F-A45E5DC17A7C}" type="datetime1">
              <a:rPr lang="en-US" smtClean="0"/>
              <a:t>4/2/2025</a:t>
            </a:fld>
            <a:endParaRPr lang="en-US"/>
          </a:p>
        </p:txBody>
      </p:sp>
      <p:sp>
        <p:nvSpPr>
          <p:cNvPr id="4" name="Footer Placeholder 3">
            <a:extLst>
              <a:ext uri="{FF2B5EF4-FFF2-40B4-BE49-F238E27FC236}">
                <a16:creationId xmlns:a16="http://schemas.microsoft.com/office/drawing/2014/main" id="{EA640E17-A7E4-A9D8-6E13-2A5E89BB1703}"/>
              </a:ext>
            </a:extLst>
          </p:cNvPr>
          <p:cNvSpPr>
            <a:spLocks noGrp="1"/>
          </p:cNvSpPr>
          <p:nvPr>
            <p:ph type="ftr" sz="quarter" idx="11"/>
          </p:nvPr>
        </p:nvSpPr>
        <p:spPr/>
        <p:txBody>
          <a:bodyPr/>
          <a:lstStyle/>
          <a:p>
            <a:endParaRPr lang="en-US"/>
          </a:p>
        </p:txBody>
      </p:sp>
      <p:sp>
        <p:nvSpPr>
          <p:cNvPr id="20" name="Slide Number Box">
            <a:extLst>
              <a:ext uri="{FF2B5EF4-FFF2-40B4-BE49-F238E27FC236}">
                <a16:creationId xmlns:a16="http://schemas.microsoft.com/office/drawing/2014/main" id="{D9C7A0F6-5910-C0B5-199D-DAA68A4E026F}"/>
              </a:ext>
            </a:extLst>
          </p:cNvPr>
          <p:cNvSpPr txBox="1"/>
          <p:nvPr userDrawn="1"/>
        </p:nvSpPr>
        <p:spPr>
          <a:xfrm>
            <a:off x="11566535" y="6234575"/>
            <a:ext cx="279503" cy="283464"/>
          </a:xfrm>
          <a:prstGeom prst="rect">
            <a:avLst/>
          </a:prstGeom>
          <a:solidFill>
            <a:srgbClr val="FFD700"/>
          </a:solidFill>
        </p:spPr>
        <p:txBody>
          <a:bodyPr vert="horz" wrap="square" lIns="0" tIns="38884" rIns="0" bIns="0" rtlCol="0">
            <a:spAutoFit/>
          </a:bodyPr>
          <a:lstStyle/>
          <a:p>
            <a:pPr marL="55825" algn="ctr">
              <a:spcBef>
                <a:spcPts val="306"/>
              </a:spcBef>
            </a:pPr>
            <a:endParaRPr sz="1182">
              <a:latin typeface="Real Head Pro"/>
              <a:cs typeface="Real Head Pro"/>
            </a:endParaRPr>
          </a:p>
        </p:txBody>
      </p:sp>
      <p:sp>
        <p:nvSpPr>
          <p:cNvPr id="5" name="Slide Number Placeholder 4">
            <a:extLst>
              <a:ext uri="{FF2B5EF4-FFF2-40B4-BE49-F238E27FC236}">
                <a16:creationId xmlns:a16="http://schemas.microsoft.com/office/drawing/2014/main" id="{7457052D-6E27-FBC0-A40D-D914851C4C3C}"/>
              </a:ext>
            </a:extLst>
          </p:cNvPr>
          <p:cNvSpPr>
            <a:spLocks noGrp="1"/>
          </p:cNvSpPr>
          <p:nvPr>
            <p:ph type="sldNum" sz="quarter" idx="12"/>
          </p:nvPr>
        </p:nvSpPr>
        <p:spPr/>
        <p:txBody>
          <a:bodyPr/>
          <a:lstStyle/>
          <a:p>
            <a:fld id="{FF7D9A68-EC15-4B1F-850C-8A6CCAFA90D8}" type="slidenum">
              <a:rPr lang="en-US" smtClean="0"/>
              <a:pPr/>
              <a:t>‹#›</a:t>
            </a:fld>
            <a:endParaRPr lang="en-US"/>
          </a:p>
        </p:txBody>
      </p:sp>
      <p:grpSp>
        <p:nvGrpSpPr>
          <p:cNvPr id="8" name="Group 7">
            <a:extLst>
              <a:ext uri="{FF2B5EF4-FFF2-40B4-BE49-F238E27FC236}">
                <a16:creationId xmlns:a16="http://schemas.microsoft.com/office/drawing/2014/main" id="{9FA6B524-8AD4-BDCA-DEA6-9FEAE505EBC1}"/>
              </a:ext>
            </a:extLst>
          </p:cNvPr>
          <p:cNvGrpSpPr>
            <a:grpSpLocks noChangeAspect="1"/>
          </p:cNvGrpSpPr>
          <p:nvPr userDrawn="1"/>
        </p:nvGrpSpPr>
        <p:grpSpPr>
          <a:xfrm>
            <a:off x="9560283" y="6247999"/>
            <a:ext cx="1869482" cy="292608"/>
            <a:chOff x="9444187" y="508520"/>
            <a:chExt cx="2339198" cy="366127"/>
          </a:xfrm>
        </p:grpSpPr>
        <p:pic>
          <p:nvPicPr>
            <p:cNvPr id="28" name="object 4">
              <a:extLst>
                <a:ext uri="{FF2B5EF4-FFF2-40B4-BE49-F238E27FC236}">
                  <a16:creationId xmlns:a16="http://schemas.microsoft.com/office/drawing/2014/main" id="{0A17C4AF-69CD-DB81-278A-EA8A45F1E31A}"/>
                </a:ext>
              </a:extLst>
            </p:cNvPr>
            <p:cNvPicPr/>
            <p:nvPr/>
          </p:nvPicPr>
          <p:blipFill>
            <a:blip r:embed="rId4" cstate="print"/>
            <a:stretch>
              <a:fillRect/>
            </a:stretch>
          </p:blipFill>
          <p:spPr>
            <a:xfrm>
              <a:off x="9444187" y="568546"/>
              <a:ext cx="1372592" cy="246070"/>
            </a:xfrm>
            <a:prstGeom prst="rect">
              <a:avLst/>
            </a:prstGeom>
          </p:spPr>
        </p:pic>
        <p:sp>
          <p:nvSpPr>
            <p:cNvPr id="29" name="object 10">
              <a:extLst>
                <a:ext uri="{FF2B5EF4-FFF2-40B4-BE49-F238E27FC236}">
                  <a16:creationId xmlns:a16="http://schemas.microsoft.com/office/drawing/2014/main" id="{517AA167-AFA7-9184-CD6F-4BC6AA605A3A}"/>
                </a:ext>
              </a:extLst>
            </p:cNvPr>
            <p:cNvSpPr/>
            <p:nvPr/>
          </p:nvSpPr>
          <p:spPr>
            <a:xfrm>
              <a:off x="10956631" y="508520"/>
              <a:ext cx="0" cy="366127"/>
            </a:xfrm>
            <a:custGeom>
              <a:avLst/>
              <a:gdLst/>
              <a:ahLst/>
              <a:cxnLst/>
              <a:rect l="l" t="t" r="r" b="b"/>
              <a:pathLst>
                <a:path h="603885">
                  <a:moveTo>
                    <a:pt x="0" y="0"/>
                  </a:moveTo>
                  <a:lnTo>
                    <a:pt x="0" y="603876"/>
                  </a:lnTo>
                </a:path>
              </a:pathLst>
            </a:custGeom>
            <a:ln w="8481">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Real Text Pro"/>
                <a:ea typeface="+mn-ea"/>
                <a:cs typeface="+mn-cs"/>
              </a:endParaRPr>
            </a:p>
          </p:txBody>
        </p:sp>
        <p:pic>
          <p:nvPicPr>
            <p:cNvPr id="30" name="object 24">
              <a:extLst>
                <a:ext uri="{FF2B5EF4-FFF2-40B4-BE49-F238E27FC236}">
                  <a16:creationId xmlns:a16="http://schemas.microsoft.com/office/drawing/2014/main" id="{587B4CAC-0A1D-DD08-4733-3730507227DE}"/>
                </a:ext>
              </a:extLst>
            </p:cNvPr>
            <p:cNvPicPr/>
            <p:nvPr/>
          </p:nvPicPr>
          <p:blipFill>
            <a:blip r:embed="rId5" cstate="print"/>
            <a:srcRect t="2" r="8299" b="42551"/>
            <a:stretch/>
          </p:blipFill>
          <p:spPr>
            <a:xfrm>
              <a:off x="11109501" y="589948"/>
              <a:ext cx="673884" cy="185327"/>
            </a:xfrm>
            <a:prstGeom prst="rect">
              <a:avLst/>
            </a:prstGeom>
          </p:spPr>
        </p:pic>
      </p:grpSp>
    </p:spTree>
    <p:extLst>
      <p:ext uri="{BB962C8B-B14F-4D97-AF65-F5344CB8AC3E}">
        <p14:creationId xmlns:p14="http://schemas.microsoft.com/office/powerpoint/2010/main" val="307963343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4_Title and Eyebrow with graphic Dark">
    <p:bg>
      <p:bgPr>
        <a:solidFill>
          <a:schemeClr val="tx2"/>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C16F05C-4BB9-7C82-C709-68EA2F74B897}"/>
              </a:ext>
            </a:extLst>
          </p:cNvPr>
          <p:cNvSpPr>
            <a:spLocks noGrp="1"/>
          </p:cNvSpPr>
          <p:nvPr>
            <p:ph type="dt" sz="half" idx="10"/>
          </p:nvPr>
        </p:nvSpPr>
        <p:spPr/>
        <p:txBody>
          <a:bodyPr/>
          <a:lstStyle/>
          <a:p>
            <a:fld id="{538BA0BE-9994-4243-B399-F1EA7335824C}" type="datetime1">
              <a:rPr lang="en-US" smtClean="0"/>
              <a:t>4/2/2025</a:t>
            </a:fld>
            <a:endParaRPr lang="en-US"/>
          </a:p>
        </p:txBody>
      </p:sp>
      <p:sp>
        <p:nvSpPr>
          <p:cNvPr id="4" name="Footer Placeholder 3">
            <a:extLst>
              <a:ext uri="{FF2B5EF4-FFF2-40B4-BE49-F238E27FC236}">
                <a16:creationId xmlns:a16="http://schemas.microsoft.com/office/drawing/2014/main" id="{B562C211-B566-11DA-A38D-906051586563}"/>
              </a:ext>
            </a:extLst>
          </p:cNvPr>
          <p:cNvSpPr>
            <a:spLocks noGrp="1"/>
          </p:cNvSpPr>
          <p:nvPr>
            <p:ph type="ftr" sz="quarter" idx="11"/>
          </p:nvPr>
        </p:nvSpPr>
        <p:spPr/>
        <p:txBody>
          <a:bodyPr/>
          <a:lstStyle/>
          <a:p>
            <a:endParaRPr lang="en-US"/>
          </a:p>
        </p:txBody>
      </p:sp>
      <p:sp>
        <p:nvSpPr>
          <p:cNvPr id="6" name="object 24">
            <a:extLst>
              <a:ext uri="{FF2B5EF4-FFF2-40B4-BE49-F238E27FC236}">
                <a16:creationId xmlns:a16="http://schemas.microsoft.com/office/drawing/2014/main" id="{E5F920B2-E5F2-B5E1-9A23-2C5EE88B6F55}"/>
              </a:ext>
            </a:extLst>
          </p:cNvPr>
          <p:cNvSpPr/>
          <p:nvPr userDrawn="1"/>
        </p:nvSpPr>
        <p:spPr>
          <a:xfrm>
            <a:off x="1588" y="343463"/>
            <a:ext cx="152457" cy="6170641"/>
          </a:xfrm>
          <a:custGeom>
            <a:avLst/>
            <a:gdLst/>
            <a:ahLst/>
            <a:cxnLst/>
            <a:rect l="l" t="t" r="r" b="b"/>
            <a:pathLst>
              <a:path w="251460" h="10177780">
                <a:moveTo>
                  <a:pt x="251301" y="0"/>
                </a:moveTo>
                <a:lnTo>
                  <a:pt x="0" y="0"/>
                </a:lnTo>
                <a:lnTo>
                  <a:pt x="0" y="10177700"/>
                </a:lnTo>
                <a:lnTo>
                  <a:pt x="251301" y="10177700"/>
                </a:lnTo>
                <a:lnTo>
                  <a:pt x="251301" y="0"/>
                </a:lnTo>
                <a:close/>
              </a:path>
            </a:pathLst>
          </a:custGeom>
          <a:solidFill>
            <a:schemeClr val="accent4"/>
          </a:solidFill>
        </p:spPr>
        <p:txBody>
          <a:bodyPr wrap="square" lIns="0" tIns="0" rIns="0" bIns="0" rtlCol="0"/>
          <a:lstStyle/>
          <a:p>
            <a:endParaRPr kern="0">
              <a:solidFill>
                <a:sysClr val="windowText" lastClr="000000"/>
              </a:solidFill>
            </a:endParaRPr>
          </a:p>
        </p:txBody>
      </p:sp>
      <p:sp>
        <p:nvSpPr>
          <p:cNvPr id="7" name="Text Placeholder 32">
            <a:extLst>
              <a:ext uri="{FF2B5EF4-FFF2-40B4-BE49-F238E27FC236}">
                <a16:creationId xmlns:a16="http://schemas.microsoft.com/office/drawing/2014/main" id="{76176889-EC90-7074-D8BD-FB8FBFBCB343}"/>
              </a:ext>
            </a:extLst>
          </p:cNvPr>
          <p:cNvSpPr>
            <a:spLocks noGrp="1"/>
          </p:cNvSpPr>
          <p:nvPr>
            <p:ph type="body" sz="quarter" idx="14" hasCustomPrompt="1"/>
          </p:nvPr>
        </p:nvSpPr>
        <p:spPr>
          <a:xfrm>
            <a:off x="763623" y="789856"/>
            <a:ext cx="10972800" cy="457200"/>
          </a:xfrm>
        </p:spPr>
        <p:txBody>
          <a:bodyPr anchor="b"/>
          <a:lstStyle>
            <a:lvl1pPr marL="0" indent="0">
              <a:spcBef>
                <a:spcPts val="0"/>
              </a:spcBef>
              <a:buNone/>
              <a:defRPr sz="3150">
                <a:solidFill>
                  <a:schemeClr val="bg2"/>
                </a:solidFill>
                <a:latin typeface="+mj-lt"/>
              </a:defRPr>
            </a:lvl1pPr>
          </a:lstStyle>
          <a:p>
            <a:pPr lvl="0"/>
            <a:r>
              <a:rPr lang="en-US"/>
              <a:t>Heading</a:t>
            </a:r>
          </a:p>
        </p:txBody>
      </p:sp>
      <p:sp>
        <p:nvSpPr>
          <p:cNvPr id="2" name="Text Placeholder 9">
            <a:extLst>
              <a:ext uri="{FF2B5EF4-FFF2-40B4-BE49-F238E27FC236}">
                <a16:creationId xmlns:a16="http://schemas.microsoft.com/office/drawing/2014/main" id="{892A23AA-62D6-9D6B-93E6-E42206E7374A}"/>
              </a:ext>
            </a:extLst>
          </p:cNvPr>
          <p:cNvSpPr>
            <a:spLocks noGrp="1"/>
          </p:cNvSpPr>
          <p:nvPr>
            <p:ph type="body" sz="quarter" idx="15"/>
          </p:nvPr>
        </p:nvSpPr>
        <p:spPr>
          <a:xfrm>
            <a:off x="763623" y="332656"/>
            <a:ext cx="10972800" cy="457200"/>
          </a:xfrm>
        </p:spPr>
        <p:txBody>
          <a:bodyPr/>
          <a:lstStyle>
            <a:lvl1pPr marL="0" indent="0">
              <a:buNone/>
              <a:defRPr sz="2400" b="0">
                <a:solidFill>
                  <a:schemeClr val="accent3"/>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8" name="Slide Number Box">
            <a:extLst>
              <a:ext uri="{FF2B5EF4-FFF2-40B4-BE49-F238E27FC236}">
                <a16:creationId xmlns:a16="http://schemas.microsoft.com/office/drawing/2014/main" id="{3DEAF9C8-A147-CF7A-E52D-4E24427CD53E}"/>
              </a:ext>
            </a:extLst>
          </p:cNvPr>
          <p:cNvSpPr txBox="1"/>
          <p:nvPr userDrawn="1"/>
        </p:nvSpPr>
        <p:spPr>
          <a:xfrm>
            <a:off x="11566535" y="6234575"/>
            <a:ext cx="279503" cy="283464"/>
          </a:xfrm>
          <a:prstGeom prst="rect">
            <a:avLst/>
          </a:prstGeom>
          <a:solidFill>
            <a:srgbClr val="FFD700"/>
          </a:solidFill>
        </p:spPr>
        <p:txBody>
          <a:bodyPr vert="horz" wrap="square" lIns="0" tIns="38884" rIns="0" bIns="0" rtlCol="0">
            <a:spAutoFit/>
          </a:bodyPr>
          <a:lstStyle/>
          <a:p>
            <a:pPr marL="55825" algn="ctr">
              <a:spcBef>
                <a:spcPts val="306"/>
              </a:spcBef>
            </a:pPr>
            <a:endParaRPr sz="1182">
              <a:latin typeface="Real Head Pro"/>
              <a:cs typeface="Real Head Pro"/>
            </a:endParaRPr>
          </a:p>
        </p:txBody>
      </p:sp>
      <p:sp>
        <p:nvSpPr>
          <p:cNvPr id="9" name="Slide Number Placeholder 4">
            <a:extLst>
              <a:ext uri="{FF2B5EF4-FFF2-40B4-BE49-F238E27FC236}">
                <a16:creationId xmlns:a16="http://schemas.microsoft.com/office/drawing/2014/main" id="{99D35B03-F698-8885-EB71-3D77B4BA4EE2}"/>
              </a:ext>
            </a:extLst>
          </p:cNvPr>
          <p:cNvSpPr>
            <a:spLocks noGrp="1"/>
          </p:cNvSpPr>
          <p:nvPr>
            <p:ph type="sldNum" sz="quarter" idx="12"/>
          </p:nvPr>
        </p:nvSpPr>
        <p:spPr>
          <a:xfrm>
            <a:off x="11562574" y="6234576"/>
            <a:ext cx="283464" cy="283464"/>
          </a:xfrm>
        </p:spPr>
        <p:txBody>
          <a:bodyPr/>
          <a:lstStyle/>
          <a:p>
            <a:fld id="{FF7D9A68-EC15-4B1F-850C-8A6CCAFA90D8}" type="slidenum">
              <a:rPr lang="en-US" smtClean="0"/>
              <a:pPr/>
              <a:t>‹#›</a:t>
            </a:fld>
            <a:endParaRPr lang="en-US"/>
          </a:p>
        </p:txBody>
      </p:sp>
      <p:grpSp>
        <p:nvGrpSpPr>
          <p:cNvPr id="10" name="Group 9">
            <a:extLst>
              <a:ext uri="{FF2B5EF4-FFF2-40B4-BE49-F238E27FC236}">
                <a16:creationId xmlns:a16="http://schemas.microsoft.com/office/drawing/2014/main" id="{DFA9C13C-86B8-4EE5-7EF8-B8857816618F}"/>
              </a:ext>
            </a:extLst>
          </p:cNvPr>
          <p:cNvGrpSpPr>
            <a:grpSpLocks noChangeAspect="1"/>
          </p:cNvGrpSpPr>
          <p:nvPr userDrawn="1"/>
        </p:nvGrpSpPr>
        <p:grpSpPr>
          <a:xfrm>
            <a:off x="8507138" y="6238683"/>
            <a:ext cx="2962386" cy="292608"/>
            <a:chOff x="8076687" y="508520"/>
            <a:chExt cx="3706698" cy="366127"/>
          </a:xfrm>
        </p:grpSpPr>
        <p:pic>
          <p:nvPicPr>
            <p:cNvPr id="11" name="object 4">
              <a:extLst>
                <a:ext uri="{FF2B5EF4-FFF2-40B4-BE49-F238E27FC236}">
                  <a16:creationId xmlns:a16="http://schemas.microsoft.com/office/drawing/2014/main" id="{57D3D0F7-6A6D-374F-077F-B71A983EB1CA}"/>
                </a:ext>
              </a:extLst>
            </p:cNvPr>
            <p:cNvPicPr/>
            <p:nvPr/>
          </p:nvPicPr>
          <p:blipFill>
            <a:blip r:embed="rId2" cstate="print"/>
            <a:stretch>
              <a:fillRect/>
            </a:stretch>
          </p:blipFill>
          <p:spPr>
            <a:xfrm>
              <a:off x="9444187" y="568546"/>
              <a:ext cx="1372592" cy="246070"/>
            </a:xfrm>
            <a:prstGeom prst="rect">
              <a:avLst/>
            </a:prstGeom>
          </p:spPr>
        </p:pic>
        <p:sp>
          <p:nvSpPr>
            <p:cNvPr id="12" name="object 7">
              <a:extLst>
                <a:ext uri="{FF2B5EF4-FFF2-40B4-BE49-F238E27FC236}">
                  <a16:creationId xmlns:a16="http://schemas.microsoft.com/office/drawing/2014/main" id="{685BE0EB-4FEE-7C9C-C61A-8CCB44D22965}"/>
                </a:ext>
              </a:extLst>
            </p:cNvPr>
            <p:cNvSpPr/>
            <p:nvPr/>
          </p:nvSpPr>
          <p:spPr>
            <a:xfrm>
              <a:off x="9291578" y="508520"/>
              <a:ext cx="0" cy="366127"/>
            </a:xfrm>
            <a:custGeom>
              <a:avLst/>
              <a:gdLst/>
              <a:ahLst/>
              <a:cxnLst/>
              <a:rect l="l" t="t" r="r" b="b"/>
              <a:pathLst>
                <a:path h="603885">
                  <a:moveTo>
                    <a:pt x="0" y="0"/>
                  </a:moveTo>
                  <a:lnTo>
                    <a:pt x="0" y="603876"/>
                  </a:lnTo>
                </a:path>
              </a:pathLst>
            </a:custGeom>
            <a:ln w="8481">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Real Text Pro"/>
                <a:ea typeface="+mn-ea"/>
                <a:cs typeface="+mn-cs"/>
              </a:endParaRPr>
            </a:p>
          </p:txBody>
        </p:sp>
        <p:sp>
          <p:nvSpPr>
            <p:cNvPr id="13" name="object 10">
              <a:extLst>
                <a:ext uri="{FF2B5EF4-FFF2-40B4-BE49-F238E27FC236}">
                  <a16:creationId xmlns:a16="http://schemas.microsoft.com/office/drawing/2014/main" id="{FFA023AA-8BCA-D6A4-AAEC-77D541AB566A}"/>
                </a:ext>
              </a:extLst>
            </p:cNvPr>
            <p:cNvSpPr/>
            <p:nvPr/>
          </p:nvSpPr>
          <p:spPr>
            <a:xfrm>
              <a:off x="10956631" y="508520"/>
              <a:ext cx="0" cy="366127"/>
            </a:xfrm>
            <a:custGeom>
              <a:avLst/>
              <a:gdLst/>
              <a:ahLst/>
              <a:cxnLst/>
              <a:rect l="l" t="t" r="r" b="b"/>
              <a:pathLst>
                <a:path h="603885">
                  <a:moveTo>
                    <a:pt x="0" y="0"/>
                  </a:moveTo>
                  <a:lnTo>
                    <a:pt x="0" y="603876"/>
                  </a:lnTo>
                </a:path>
              </a:pathLst>
            </a:custGeom>
            <a:ln w="8481">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Real Text Pro"/>
                <a:ea typeface="+mn-ea"/>
                <a:cs typeface="+mn-cs"/>
              </a:endParaRPr>
            </a:p>
          </p:txBody>
        </p:sp>
        <p:grpSp>
          <p:nvGrpSpPr>
            <p:cNvPr id="14" name="object 11">
              <a:extLst>
                <a:ext uri="{FF2B5EF4-FFF2-40B4-BE49-F238E27FC236}">
                  <a16:creationId xmlns:a16="http://schemas.microsoft.com/office/drawing/2014/main" id="{E5D06E41-47CF-0955-33C3-FD22DEA73375}"/>
                </a:ext>
              </a:extLst>
            </p:cNvPr>
            <p:cNvGrpSpPr/>
            <p:nvPr/>
          </p:nvGrpSpPr>
          <p:grpSpPr>
            <a:xfrm>
              <a:off x="8076687" y="510423"/>
              <a:ext cx="483549" cy="362662"/>
              <a:chOff x="13318969" y="840809"/>
              <a:chExt cx="797560" cy="598170"/>
            </a:xfrm>
          </p:grpSpPr>
          <p:sp>
            <p:nvSpPr>
              <p:cNvPr id="26" name="object 12">
                <a:extLst>
                  <a:ext uri="{FF2B5EF4-FFF2-40B4-BE49-F238E27FC236}">
                    <a16:creationId xmlns:a16="http://schemas.microsoft.com/office/drawing/2014/main" id="{C716757D-0E22-5D55-8AB4-98036E393727}"/>
                  </a:ext>
                </a:extLst>
              </p:cNvPr>
              <p:cNvSpPr/>
              <p:nvPr/>
            </p:nvSpPr>
            <p:spPr>
              <a:xfrm>
                <a:off x="13318969" y="840809"/>
                <a:ext cx="797560" cy="598170"/>
              </a:xfrm>
              <a:custGeom>
                <a:avLst/>
                <a:gdLst/>
                <a:ahLst/>
                <a:cxnLst/>
                <a:rect l="l" t="t" r="r" b="b"/>
                <a:pathLst>
                  <a:path w="797559" h="598169">
                    <a:moveTo>
                      <a:pt x="137974" y="499110"/>
                    </a:moveTo>
                    <a:lnTo>
                      <a:pt x="99400" y="499110"/>
                    </a:lnTo>
                    <a:lnTo>
                      <a:pt x="99400" y="530860"/>
                    </a:lnTo>
                    <a:lnTo>
                      <a:pt x="104731" y="557530"/>
                    </a:lnTo>
                    <a:lnTo>
                      <a:pt x="119260" y="579120"/>
                    </a:lnTo>
                    <a:lnTo>
                      <a:pt x="140791" y="593090"/>
                    </a:lnTo>
                    <a:lnTo>
                      <a:pt x="167125" y="598170"/>
                    </a:lnTo>
                    <a:lnTo>
                      <a:pt x="633006" y="598170"/>
                    </a:lnTo>
                    <a:lnTo>
                      <a:pt x="659341" y="593090"/>
                    </a:lnTo>
                    <a:lnTo>
                      <a:pt x="680871" y="579120"/>
                    </a:lnTo>
                    <a:lnTo>
                      <a:pt x="693691" y="560070"/>
                    </a:lnTo>
                    <a:lnTo>
                      <a:pt x="167125" y="560070"/>
                    </a:lnTo>
                    <a:lnTo>
                      <a:pt x="155790" y="557530"/>
                    </a:lnTo>
                    <a:lnTo>
                      <a:pt x="146523" y="551180"/>
                    </a:lnTo>
                    <a:lnTo>
                      <a:pt x="140269" y="542290"/>
                    </a:lnTo>
                    <a:lnTo>
                      <a:pt x="137974" y="530860"/>
                    </a:lnTo>
                    <a:lnTo>
                      <a:pt x="137974" y="499110"/>
                    </a:lnTo>
                    <a:close/>
                  </a:path>
                  <a:path w="797559" h="598169">
                    <a:moveTo>
                      <a:pt x="700732" y="529590"/>
                    </a:moveTo>
                    <a:lnTo>
                      <a:pt x="662157" y="529590"/>
                    </a:lnTo>
                    <a:lnTo>
                      <a:pt x="662157" y="530860"/>
                    </a:lnTo>
                    <a:lnTo>
                      <a:pt x="659863" y="542290"/>
                    </a:lnTo>
                    <a:lnTo>
                      <a:pt x="653609" y="551180"/>
                    </a:lnTo>
                    <a:lnTo>
                      <a:pt x="644342" y="557530"/>
                    </a:lnTo>
                    <a:lnTo>
                      <a:pt x="633006" y="560070"/>
                    </a:lnTo>
                    <a:lnTo>
                      <a:pt x="693691" y="560070"/>
                    </a:lnTo>
                    <a:lnTo>
                      <a:pt x="695401" y="557530"/>
                    </a:lnTo>
                    <a:lnTo>
                      <a:pt x="700732" y="530860"/>
                    </a:lnTo>
                    <a:lnTo>
                      <a:pt x="700732" y="529590"/>
                    </a:lnTo>
                    <a:close/>
                  </a:path>
                  <a:path w="797559" h="598169">
                    <a:moveTo>
                      <a:pt x="424948" y="499110"/>
                    </a:moveTo>
                    <a:lnTo>
                      <a:pt x="393349" y="499110"/>
                    </a:lnTo>
                    <a:lnTo>
                      <a:pt x="468257" y="529590"/>
                    </a:lnTo>
                    <a:lnTo>
                      <a:pt x="743432" y="529590"/>
                    </a:lnTo>
                    <a:lnTo>
                      <a:pt x="746578" y="538480"/>
                    </a:lnTo>
                    <a:lnTo>
                      <a:pt x="752524" y="546100"/>
                    </a:lnTo>
                    <a:lnTo>
                      <a:pt x="760625" y="549910"/>
                    </a:lnTo>
                    <a:lnTo>
                      <a:pt x="770238" y="552450"/>
                    </a:lnTo>
                    <a:lnTo>
                      <a:pt x="780805" y="549910"/>
                    </a:lnTo>
                    <a:lnTo>
                      <a:pt x="789443" y="543560"/>
                    </a:lnTo>
                    <a:lnTo>
                      <a:pt x="792357" y="539750"/>
                    </a:lnTo>
                    <a:lnTo>
                      <a:pt x="761798" y="539750"/>
                    </a:lnTo>
                    <a:lnTo>
                      <a:pt x="754929" y="533400"/>
                    </a:lnTo>
                    <a:lnTo>
                      <a:pt x="754929" y="516890"/>
                    </a:lnTo>
                    <a:lnTo>
                      <a:pt x="470551" y="516890"/>
                    </a:lnTo>
                    <a:lnTo>
                      <a:pt x="424948" y="499110"/>
                    </a:lnTo>
                    <a:close/>
                  </a:path>
                  <a:path w="797559" h="598169">
                    <a:moveTo>
                      <a:pt x="791941" y="509270"/>
                    </a:moveTo>
                    <a:lnTo>
                      <a:pt x="778677" y="509270"/>
                    </a:lnTo>
                    <a:lnTo>
                      <a:pt x="785546" y="516890"/>
                    </a:lnTo>
                    <a:lnTo>
                      <a:pt x="785546" y="533400"/>
                    </a:lnTo>
                    <a:lnTo>
                      <a:pt x="778677" y="539750"/>
                    </a:lnTo>
                    <a:lnTo>
                      <a:pt x="792357" y="539750"/>
                    </a:lnTo>
                    <a:lnTo>
                      <a:pt x="795271" y="535940"/>
                    </a:lnTo>
                    <a:lnTo>
                      <a:pt x="797410" y="524510"/>
                    </a:lnTo>
                    <a:lnTo>
                      <a:pt x="795271" y="514350"/>
                    </a:lnTo>
                    <a:lnTo>
                      <a:pt x="791941" y="509270"/>
                    </a:lnTo>
                    <a:close/>
                  </a:path>
                  <a:path w="797559" h="598169">
                    <a:moveTo>
                      <a:pt x="27171" y="467360"/>
                    </a:moveTo>
                    <a:lnTo>
                      <a:pt x="16605" y="469900"/>
                    </a:lnTo>
                    <a:lnTo>
                      <a:pt x="7967" y="476250"/>
                    </a:lnTo>
                    <a:lnTo>
                      <a:pt x="2138" y="483870"/>
                    </a:lnTo>
                    <a:lnTo>
                      <a:pt x="0" y="495300"/>
                    </a:lnTo>
                    <a:lnTo>
                      <a:pt x="2138" y="505460"/>
                    </a:lnTo>
                    <a:lnTo>
                      <a:pt x="7967" y="514350"/>
                    </a:lnTo>
                    <a:lnTo>
                      <a:pt x="16605" y="519430"/>
                    </a:lnTo>
                    <a:lnTo>
                      <a:pt x="27171" y="521970"/>
                    </a:lnTo>
                    <a:lnTo>
                      <a:pt x="36619" y="520700"/>
                    </a:lnTo>
                    <a:lnTo>
                      <a:pt x="44625" y="515620"/>
                    </a:lnTo>
                    <a:lnTo>
                      <a:pt x="48595" y="510540"/>
                    </a:lnTo>
                    <a:lnTo>
                      <a:pt x="18732" y="510540"/>
                    </a:lnTo>
                    <a:lnTo>
                      <a:pt x="11863" y="502920"/>
                    </a:lnTo>
                    <a:lnTo>
                      <a:pt x="11863" y="486410"/>
                    </a:lnTo>
                    <a:lnTo>
                      <a:pt x="18732" y="480060"/>
                    </a:lnTo>
                    <a:lnTo>
                      <a:pt x="49792" y="480060"/>
                    </a:lnTo>
                    <a:lnTo>
                      <a:pt x="43862" y="473710"/>
                    </a:lnTo>
                    <a:lnTo>
                      <a:pt x="36150" y="468630"/>
                    </a:lnTo>
                    <a:lnTo>
                      <a:pt x="27171" y="467360"/>
                    </a:lnTo>
                    <a:close/>
                  </a:path>
                  <a:path w="797559" h="598169">
                    <a:moveTo>
                      <a:pt x="700732" y="429260"/>
                    </a:moveTo>
                    <a:lnTo>
                      <a:pt x="662157" y="429260"/>
                    </a:lnTo>
                    <a:lnTo>
                      <a:pt x="662157" y="516890"/>
                    </a:lnTo>
                    <a:lnTo>
                      <a:pt x="700732" y="516890"/>
                    </a:lnTo>
                    <a:lnTo>
                      <a:pt x="700732" y="429260"/>
                    </a:lnTo>
                    <a:close/>
                  </a:path>
                  <a:path w="797559" h="598169">
                    <a:moveTo>
                      <a:pt x="770238" y="497840"/>
                    </a:moveTo>
                    <a:lnTo>
                      <a:pt x="761427" y="499110"/>
                    </a:lnTo>
                    <a:lnTo>
                      <a:pt x="753822" y="502920"/>
                    </a:lnTo>
                    <a:lnTo>
                      <a:pt x="747909" y="509270"/>
                    </a:lnTo>
                    <a:lnTo>
                      <a:pt x="744176" y="516890"/>
                    </a:lnTo>
                    <a:lnTo>
                      <a:pt x="754929" y="516890"/>
                    </a:lnTo>
                    <a:lnTo>
                      <a:pt x="761798" y="509270"/>
                    </a:lnTo>
                    <a:lnTo>
                      <a:pt x="791941" y="509270"/>
                    </a:lnTo>
                    <a:lnTo>
                      <a:pt x="789443" y="505460"/>
                    </a:lnTo>
                    <a:lnTo>
                      <a:pt x="780805" y="500380"/>
                    </a:lnTo>
                    <a:lnTo>
                      <a:pt x="770238" y="497840"/>
                    </a:lnTo>
                    <a:close/>
                  </a:path>
                  <a:path w="797559" h="598169">
                    <a:moveTo>
                      <a:pt x="49792" y="480060"/>
                    </a:moveTo>
                    <a:lnTo>
                      <a:pt x="35611" y="480060"/>
                    </a:lnTo>
                    <a:lnTo>
                      <a:pt x="42469" y="486410"/>
                    </a:lnTo>
                    <a:lnTo>
                      <a:pt x="42469" y="502920"/>
                    </a:lnTo>
                    <a:lnTo>
                      <a:pt x="35611" y="510540"/>
                    </a:lnTo>
                    <a:lnTo>
                      <a:pt x="48595" y="510540"/>
                    </a:lnTo>
                    <a:lnTo>
                      <a:pt x="50579" y="508000"/>
                    </a:lnTo>
                    <a:lnTo>
                      <a:pt x="53872" y="500380"/>
                    </a:lnTo>
                    <a:lnTo>
                      <a:pt x="99400" y="499110"/>
                    </a:lnTo>
                    <a:lnTo>
                      <a:pt x="424948" y="499110"/>
                    </a:lnTo>
                    <a:lnTo>
                      <a:pt x="395631" y="487680"/>
                    </a:lnTo>
                    <a:lnTo>
                      <a:pt x="53422" y="487680"/>
                    </a:lnTo>
                    <a:lnTo>
                      <a:pt x="49792" y="480060"/>
                    </a:lnTo>
                    <a:close/>
                  </a:path>
                  <a:path w="797559" h="598169">
                    <a:moveTo>
                      <a:pt x="137974" y="400050"/>
                    </a:moveTo>
                    <a:lnTo>
                      <a:pt x="99400" y="400050"/>
                    </a:lnTo>
                    <a:lnTo>
                      <a:pt x="99400" y="487680"/>
                    </a:lnTo>
                    <a:lnTo>
                      <a:pt x="137974" y="487680"/>
                    </a:lnTo>
                    <a:lnTo>
                      <a:pt x="137974" y="400050"/>
                    </a:lnTo>
                    <a:close/>
                  </a:path>
                  <a:path w="797559" h="598169">
                    <a:moveTo>
                      <a:pt x="424948" y="398780"/>
                    </a:moveTo>
                    <a:lnTo>
                      <a:pt x="393349" y="398780"/>
                    </a:lnTo>
                    <a:lnTo>
                      <a:pt x="468257" y="429260"/>
                    </a:lnTo>
                    <a:lnTo>
                      <a:pt x="743432" y="429260"/>
                    </a:lnTo>
                    <a:lnTo>
                      <a:pt x="746578" y="438150"/>
                    </a:lnTo>
                    <a:lnTo>
                      <a:pt x="752524" y="445770"/>
                    </a:lnTo>
                    <a:lnTo>
                      <a:pt x="760625" y="450850"/>
                    </a:lnTo>
                    <a:lnTo>
                      <a:pt x="770238" y="452120"/>
                    </a:lnTo>
                    <a:lnTo>
                      <a:pt x="780805" y="449580"/>
                    </a:lnTo>
                    <a:lnTo>
                      <a:pt x="789443" y="444500"/>
                    </a:lnTo>
                    <a:lnTo>
                      <a:pt x="791941" y="440690"/>
                    </a:lnTo>
                    <a:lnTo>
                      <a:pt x="761798" y="440690"/>
                    </a:lnTo>
                    <a:lnTo>
                      <a:pt x="754929" y="433070"/>
                    </a:lnTo>
                    <a:lnTo>
                      <a:pt x="754929" y="416560"/>
                    </a:lnTo>
                    <a:lnTo>
                      <a:pt x="470551" y="416560"/>
                    </a:lnTo>
                    <a:lnTo>
                      <a:pt x="424948" y="398780"/>
                    </a:lnTo>
                    <a:close/>
                  </a:path>
                  <a:path w="797559" h="598169">
                    <a:moveTo>
                      <a:pt x="791941" y="408940"/>
                    </a:moveTo>
                    <a:lnTo>
                      <a:pt x="778677" y="408940"/>
                    </a:lnTo>
                    <a:lnTo>
                      <a:pt x="785546" y="416560"/>
                    </a:lnTo>
                    <a:lnTo>
                      <a:pt x="785546" y="433070"/>
                    </a:lnTo>
                    <a:lnTo>
                      <a:pt x="778677" y="440690"/>
                    </a:lnTo>
                    <a:lnTo>
                      <a:pt x="791941" y="440690"/>
                    </a:lnTo>
                    <a:lnTo>
                      <a:pt x="795271" y="435610"/>
                    </a:lnTo>
                    <a:lnTo>
                      <a:pt x="797410" y="424180"/>
                    </a:lnTo>
                    <a:lnTo>
                      <a:pt x="795271" y="414020"/>
                    </a:lnTo>
                    <a:lnTo>
                      <a:pt x="791941" y="408940"/>
                    </a:lnTo>
                    <a:close/>
                  </a:path>
                  <a:path w="797559" h="598169">
                    <a:moveTo>
                      <a:pt x="27171" y="367030"/>
                    </a:moveTo>
                    <a:lnTo>
                      <a:pt x="16605" y="369570"/>
                    </a:lnTo>
                    <a:lnTo>
                      <a:pt x="7967" y="375920"/>
                    </a:lnTo>
                    <a:lnTo>
                      <a:pt x="2138" y="383540"/>
                    </a:lnTo>
                    <a:lnTo>
                      <a:pt x="0" y="394970"/>
                    </a:lnTo>
                    <a:lnTo>
                      <a:pt x="2138" y="405130"/>
                    </a:lnTo>
                    <a:lnTo>
                      <a:pt x="7967" y="414020"/>
                    </a:lnTo>
                    <a:lnTo>
                      <a:pt x="16605" y="419100"/>
                    </a:lnTo>
                    <a:lnTo>
                      <a:pt x="27171" y="421640"/>
                    </a:lnTo>
                    <a:lnTo>
                      <a:pt x="36619" y="420370"/>
                    </a:lnTo>
                    <a:lnTo>
                      <a:pt x="44625" y="415290"/>
                    </a:lnTo>
                    <a:lnTo>
                      <a:pt x="49388" y="410210"/>
                    </a:lnTo>
                    <a:lnTo>
                      <a:pt x="18732" y="410210"/>
                    </a:lnTo>
                    <a:lnTo>
                      <a:pt x="11863" y="402590"/>
                    </a:lnTo>
                    <a:lnTo>
                      <a:pt x="11863" y="386080"/>
                    </a:lnTo>
                    <a:lnTo>
                      <a:pt x="18732" y="379730"/>
                    </a:lnTo>
                    <a:lnTo>
                      <a:pt x="49792" y="379730"/>
                    </a:lnTo>
                    <a:lnTo>
                      <a:pt x="43862" y="373380"/>
                    </a:lnTo>
                    <a:lnTo>
                      <a:pt x="36150" y="369570"/>
                    </a:lnTo>
                    <a:lnTo>
                      <a:pt x="27171" y="367030"/>
                    </a:lnTo>
                    <a:close/>
                  </a:path>
                  <a:path w="797559" h="598169">
                    <a:moveTo>
                      <a:pt x="700732" y="330200"/>
                    </a:moveTo>
                    <a:lnTo>
                      <a:pt x="662157" y="330200"/>
                    </a:lnTo>
                    <a:lnTo>
                      <a:pt x="662157" y="416560"/>
                    </a:lnTo>
                    <a:lnTo>
                      <a:pt x="700732" y="416560"/>
                    </a:lnTo>
                    <a:lnTo>
                      <a:pt x="700732" y="330200"/>
                    </a:lnTo>
                    <a:close/>
                  </a:path>
                  <a:path w="797559" h="598169">
                    <a:moveTo>
                      <a:pt x="770238" y="397510"/>
                    </a:moveTo>
                    <a:lnTo>
                      <a:pt x="761427" y="398780"/>
                    </a:lnTo>
                    <a:lnTo>
                      <a:pt x="753822" y="402590"/>
                    </a:lnTo>
                    <a:lnTo>
                      <a:pt x="747909" y="408940"/>
                    </a:lnTo>
                    <a:lnTo>
                      <a:pt x="744176" y="416560"/>
                    </a:lnTo>
                    <a:lnTo>
                      <a:pt x="754929" y="416560"/>
                    </a:lnTo>
                    <a:lnTo>
                      <a:pt x="761798" y="408940"/>
                    </a:lnTo>
                    <a:lnTo>
                      <a:pt x="791941" y="408940"/>
                    </a:lnTo>
                    <a:lnTo>
                      <a:pt x="789443" y="405130"/>
                    </a:lnTo>
                    <a:lnTo>
                      <a:pt x="780805" y="400050"/>
                    </a:lnTo>
                    <a:lnTo>
                      <a:pt x="770238" y="397510"/>
                    </a:lnTo>
                    <a:close/>
                  </a:path>
                  <a:path w="797559" h="598169">
                    <a:moveTo>
                      <a:pt x="49792" y="379730"/>
                    </a:moveTo>
                    <a:lnTo>
                      <a:pt x="35611" y="379730"/>
                    </a:lnTo>
                    <a:lnTo>
                      <a:pt x="42469" y="386080"/>
                    </a:lnTo>
                    <a:lnTo>
                      <a:pt x="42469" y="402590"/>
                    </a:lnTo>
                    <a:lnTo>
                      <a:pt x="35611" y="410210"/>
                    </a:lnTo>
                    <a:lnTo>
                      <a:pt x="49388" y="410210"/>
                    </a:lnTo>
                    <a:lnTo>
                      <a:pt x="50579" y="408940"/>
                    </a:lnTo>
                    <a:lnTo>
                      <a:pt x="53872" y="400050"/>
                    </a:lnTo>
                    <a:lnTo>
                      <a:pt x="137974" y="400050"/>
                    </a:lnTo>
                    <a:lnTo>
                      <a:pt x="424948" y="398780"/>
                    </a:lnTo>
                    <a:lnTo>
                      <a:pt x="395631" y="387350"/>
                    </a:lnTo>
                    <a:lnTo>
                      <a:pt x="53422" y="387350"/>
                    </a:lnTo>
                    <a:lnTo>
                      <a:pt x="49792" y="379730"/>
                    </a:lnTo>
                    <a:close/>
                  </a:path>
                  <a:path w="797559" h="598169">
                    <a:moveTo>
                      <a:pt x="137974" y="300990"/>
                    </a:moveTo>
                    <a:lnTo>
                      <a:pt x="99400" y="300990"/>
                    </a:lnTo>
                    <a:lnTo>
                      <a:pt x="99400" y="387350"/>
                    </a:lnTo>
                    <a:lnTo>
                      <a:pt x="137974" y="387350"/>
                    </a:lnTo>
                    <a:lnTo>
                      <a:pt x="137974" y="300990"/>
                    </a:lnTo>
                    <a:close/>
                  </a:path>
                  <a:path w="797559" h="598169">
                    <a:moveTo>
                      <a:pt x="425540" y="300990"/>
                    </a:moveTo>
                    <a:lnTo>
                      <a:pt x="393349" y="300990"/>
                    </a:lnTo>
                    <a:lnTo>
                      <a:pt x="468257" y="330200"/>
                    </a:lnTo>
                    <a:lnTo>
                      <a:pt x="743432" y="330200"/>
                    </a:lnTo>
                    <a:lnTo>
                      <a:pt x="746578" y="339090"/>
                    </a:lnTo>
                    <a:lnTo>
                      <a:pt x="752524" y="346710"/>
                    </a:lnTo>
                    <a:lnTo>
                      <a:pt x="760625" y="351790"/>
                    </a:lnTo>
                    <a:lnTo>
                      <a:pt x="770238" y="353060"/>
                    </a:lnTo>
                    <a:lnTo>
                      <a:pt x="780805" y="351790"/>
                    </a:lnTo>
                    <a:lnTo>
                      <a:pt x="789443" y="345440"/>
                    </a:lnTo>
                    <a:lnTo>
                      <a:pt x="791941" y="341630"/>
                    </a:lnTo>
                    <a:lnTo>
                      <a:pt x="761798" y="341630"/>
                    </a:lnTo>
                    <a:lnTo>
                      <a:pt x="754929" y="335280"/>
                    </a:lnTo>
                    <a:lnTo>
                      <a:pt x="754929" y="318770"/>
                    </a:lnTo>
                    <a:lnTo>
                      <a:pt x="470551" y="318770"/>
                    </a:lnTo>
                    <a:lnTo>
                      <a:pt x="425540" y="300990"/>
                    </a:lnTo>
                    <a:close/>
                  </a:path>
                  <a:path w="797559" h="598169">
                    <a:moveTo>
                      <a:pt x="791941" y="311150"/>
                    </a:moveTo>
                    <a:lnTo>
                      <a:pt x="778677" y="311150"/>
                    </a:lnTo>
                    <a:lnTo>
                      <a:pt x="785546" y="317500"/>
                    </a:lnTo>
                    <a:lnTo>
                      <a:pt x="785546" y="335280"/>
                    </a:lnTo>
                    <a:lnTo>
                      <a:pt x="778677" y="341630"/>
                    </a:lnTo>
                    <a:lnTo>
                      <a:pt x="791941" y="341630"/>
                    </a:lnTo>
                    <a:lnTo>
                      <a:pt x="795271" y="336550"/>
                    </a:lnTo>
                    <a:lnTo>
                      <a:pt x="797410" y="326390"/>
                    </a:lnTo>
                    <a:lnTo>
                      <a:pt x="795271" y="316230"/>
                    </a:lnTo>
                    <a:lnTo>
                      <a:pt x="791941" y="311150"/>
                    </a:lnTo>
                    <a:close/>
                  </a:path>
                  <a:path w="797559" h="598169">
                    <a:moveTo>
                      <a:pt x="27171" y="269240"/>
                    </a:moveTo>
                    <a:lnTo>
                      <a:pt x="16605" y="270510"/>
                    </a:lnTo>
                    <a:lnTo>
                      <a:pt x="7967" y="276860"/>
                    </a:lnTo>
                    <a:lnTo>
                      <a:pt x="2138" y="285750"/>
                    </a:lnTo>
                    <a:lnTo>
                      <a:pt x="0" y="295910"/>
                    </a:lnTo>
                    <a:lnTo>
                      <a:pt x="2138" y="306070"/>
                    </a:lnTo>
                    <a:lnTo>
                      <a:pt x="7967" y="314960"/>
                    </a:lnTo>
                    <a:lnTo>
                      <a:pt x="16605" y="321310"/>
                    </a:lnTo>
                    <a:lnTo>
                      <a:pt x="27171" y="323850"/>
                    </a:lnTo>
                    <a:lnTo>
                      <a:pt x="36619" y="321310"/>
                    </a:lnTo>
                    <a:lnTo>
                      <a:pt x="44625" y="317500"/>
                    </a:lnTo>
                    <a:lnTo>
                      <a:pt x="49587" y="311150"/>
                    </a:lnTo>
                    <a:lnTo>
                      <a:pt x="18732" y="311150"/>
                    </a:lnTo>
                    <a:lnTo>
                      <a:pt x="11863" y="304800"/>
                    </a:lnTo>
                    <a:lnTo>
                      <a:pt x="11863" y="288290"/>
                    </a:lnTo>
                    <a:lnTo>
                      <a:pt x="18732" y="280670"/>
                    </a:lnTo>
                    <a:lnTo>
                      <a:pt x="49792" y="280670"/>
                    </a:lnTo>
                    <a:lnTo>
                      <a:pt x="43862" y="274320"/>
                    </a:lnTo>
                    <a:lnTo>
                      <a:pt x="36150" y="270510"/>
                    </a:lnTo>
                    <a:lnTo>
                      <a:pt x="27171" y="269240"/>
                    </a:lnTo>
                    <a:close/>
                  </a:path>
                  <a:path w="797559" h="598169">
                    <a:moveTo>
                      <a:pt x="700732" y="231140"/>
                    </a:moveTo>
                    <a:lnTo>
                      <a:pt x="662157" y="231140"/>
                    </a:lnTo>
                    <a:lnTo>
                      <a:pt x="662157" y="318770"/>
                    </a:lnTo>
                    <a:lnTo>
                      <a:pt x="700732" y="318770"/>
                    </a:lnTo>
                    <a:lnTo>
                      <a:pt x="700732" y="231140"/>
                    </a:lnTo>
                    <a:close/>
                  </a:path>
                  <a:path w="797559" h="598169">
                    <a:moveTo>
                      <a:pt x="770238" y="298450"/>
                    </a:moveTo>
                    <a:lnTo>
                      <a:pt x="761427" y="300990"/>
                    </a:lnTo>
                    <a:lnTo>
                      <a:pt x="753822" y="304800"/>
                    </a:lnTo>
                    <a:lnTo>
                      <a:pt x="747909" y="311150"/>
                    </a:lnTo>
                    <a:lnTo>
                      <a:pt x="744176" y="318770"/>
                    </a:lnTo>
                    <a:lnTo>
                      <a:pt x="754929" y="318770"/>
                    </a:lnTo>
                    <a:lnTo>
                      <a:pt x="754929" y="317500"/>
                    </a:lnTo>
                    <a:lnTo>
                      <a:pt x="761798" y="311150"/>
                    </a:lnTo>
                    <a:lnTo>
                      <a:pt x="791941" y="311150"/>
                    </a:lnTo>
                    <a:lnTo>
                      <a:pt x="789443" y="307340"/>
                    </a:lnTo>
                    <a:lnTo>
                      <a:pt x="780805" y="300990"/>
                    </a:lnTo>
                    <a:lnTo>
                      <a:pt x="770238" y="298450"/>
                    </a:lnTo>
                    <a:close/>
                  </a:path>
                  <a:path w="797559" h="598169">
                    <a:moveTo>
                      <a:pt x="49792" y="280670"/>
                    </a:moveTo>
                    <a:lnTo>
                      <a:pt x="35611" y="280670"/>
                    </a:lnTo>
                    <a:lnTo>
                      <a:pt x="42469" y="288290"/>
                    </a:lnTo>
                    <a:lnTo>
                      <a:pt x="42469" y="304800"/>
                    </a:lnTo>
                    <a:lnTo>
                      <a:pt x="35611" y="311150"/>
                    </a:lnTo>
                    <a:lnTo>
                      <a:pt x="49587" y="311150"/>
                    </a:lnTo>
                    <a:lnTo>
                      <a:pt x="50579" y="309880"/>
                    </a:lnTo>
                    <a:lnTo>
                      <a:pt x="53872" y="300990"/>
                    </a:lnTo>
                    <a:lnTo>
                      <a:pt x="425540" y="300990"/>
                    </a:lnTo>
                    <a:lnTo>
                      <a:pt x="399820" y="290830"/>
                    </a:lnTo>
                    <a:lnTo>
                      <a:pt x="399820" y="289560"/>
                    </a:lnTo>
                    <a:lnTo>
                      <a:pt x="53422" y="289560"/>
                    </a:lnTo>
                    <a:lnTo>
                      <a:pt x="49792" y="280670"/>
                    </a:lnTo>
                    <a:close/>
                  </a:path>
                  <a:path w="797559" h="598169">
                    <a:moveTo>
                      <a:pt x="137974" y="200660"/>
                    </a:moveTo>
                    <a:lnTo>
                      <a:pt x="99400" y="200660"/>
                    </a:lnTo>
                    <a:lnTo>
                      <a:pt x="99400" y="289560"/>
                    </a:lnTo>
                    <a:lnTo>
                      <a:pt x="399820" y="289560"/>
                    </a:lnTo>
                    <a:lnTo>
                      <a:pt x="399820" y="285750"/>
                    </a:lnTo>
                    <a:lnTo>
                      <a:pt x="137974" y="285750"/>
                    </a:lnTo>
                    <a:lnTo>
                      <a:pt x="137974" y="200660"/>
                    </a:lnTo>
                    <a:close/>
                  </a:path>
                  <a:path w="797559" h="598169">
                    <a:moveTo>
                      <a:pt x="399820" y="38100"/>
                    </a:moveTo>
                    <a:lnTo>
                      <a:pt x="387956" y="38100"/>
                    </a:lnTo>
                    <a:lnTo>
                      <a:pt x="387956" y="285750"/>
                    </a:lnTo>
                    <a:lnTo>
                      <a:pt x="399820" y="285750"/>
                    </a:lnTo>
                    <a:lnTo>
                      <a:pt x="399820" y="203200"/>
                    </a:lnTo>
                    <a:lnTo>
                      <a:pt x="431970" y="203200"/>
                    </a:lnTo>
                    <a:lnTo>
                      <a:pt x="399820" y="190500"/>
                    </a:lnTo>
                    <a:lnTo>
                      <a:pt x="399820" y="102870"/>
                    </a:lnTo>
                    <a:lnTo>
                      <a:pt x="431970" y="102870"/>
                    </a:lnTo>
                    <a:lnTo>
                      <a:pt x="399820" y="90170"/>
                    </a:lnTo>
                    <a:lnTo>
                      <a:pt x="399820" y="38100"/>
                    </a:lnTo>
                    <a:close/>
                  </a:path>
                  <a:path w="797559" h="598169">
                    <a:moveTo>
                      <a:pt x="431970" y="203200"/>
                    </a:moveTo>
                    <a:lnTo>
                      <a:pt x="399820" y="203200"/>
                    </a:lnTo>
                    <a:lnTo>
                      <a:pt x="468257" y="231140"/>
                    </a:lnTo>
                    <a:lnTo>
                      <a:pt x="743432" y="231140"/>
                    </a:lnTo>
                    <a:lnTo>
                      <a:pt x="746578" y="240030"/>
                    </a:lnTo>
                    <a:lnTo>
                      <a:pt x="752524" y="247650"/>
                    </a:lnTo>
                    <a:lnTo>
                      <a:pt x="760625" y="251460"/>
                    </a:lnTo>
                    <a:lnTo>
                      <a:pt x="770238" y="254000"/>
                    </a:lnTo>
                    <a:lnTo>
                      <a:pt x="780805" y="251460"/>
                    </a:lnTo>
                    <a:lnTo>
                      <a:pt x="789443" y="246380"/>
                    </a:lnTo>
                    <a:lnTo>
                      <a:pt x="792773" y="241300"/>
                    </a:lnTo>
                    <a:lnTo>
                      <a:pt x="761798" y="241300"/>
                    </a:lnTo>
                    <a:lnTo>
                      <a:pt x="754929" y="234950"/>
                    </a:lnTo>
                    <a:lnTo>
                      <a:pt x="754929" y="218440"/>
                    </a:lnTo>
                    <a:lnTo>
                      <a:pt x="470551" y="218440"/>
                    </a:lnTo>
                    <a:lnTo>
                      <a:pt x="431970" y="203200"/>
                    </a:lnTo>
                    <a:close/>
                  </a:path>
                  <a:path w="797559" h="598169">
                    <a:moveTo>
                      <a:pt x="791941" y="210820"/>
                    </a:moveTo>
                    <a:lnTo>
                      <a:pt x="778677" y="210820"/>
                    </a:lnTo>
                    <a:lnTo>
                      <a:pt x="785546" y="218440"/>
                    </a:lnTo>
                    <a:lnTo>
                      <a:pt x="785546" y="234950"/>
                    </a:lnTo>
                    <a:lnTo>
                      <a:pt x="778677" y="241300"/>
                    </a:lnTo>
                    <a:lnTo>
                      <a:pt x="792773" y="241300"/>
                    </a:lnTo>
                    <a:lnTo>
                      <a:pt x="795271" y="237490"/>
                    </a:lnTo>
                    <a:lnTo>
                      <a:pt x="797410" y="226060"/>
                    </a:lnTo>
                    <a:lnTo>
                      <a:pt x="795271" y="215900"/>
                    </a:lnTo>
                    <a:lnTo>
                      <a:pt x="791941" y="210820"/>
                    </a:lnTo>
                    <a:close/>
                  </a:path>
                  <a:path w="797559" h="598169">
                    <a:moveTo>
                      <a:pt x="27171" y="168910"/>
                    </a:moveTo>
                    <a:lnTo>
                      <a:pt x="16605" y="171450"/>
                    </a:lnTo>
                    <a:lnTo>
                      <a:pt x="7967" y="177800"/>
                    </a:lnTo>
                    <a:lnTo>
                      <a:pt x="2138" y="185420"/>
                    </a:lnTo>
                    <a:lnTo>
                      <a:pt x="0" y="196850"/>
                    </a:lnTo>
                    <a:lnTo>
                      <a:pt x="2138" y="207010"/>
                    </a:lnTo>
                    <a:lnTo>
                      <a:pt x="7967" y="215900"/>
                    </a:lnTo>
                    <a:lnTo>
                      <a:pt x="16605" y="220980"/>
                    </a:lnTo>
                    <a:lnTo>
                      <a:pt x="27171" y="223520"/>
                    </a:lnTo>
                    <a:lnTo>
                      <a:pt x="36621" y="222250"/>
                    </a:lnTo>
                    <a:lnTo>
                      <a:pt x="44629" y="217170"/>
                    </a:lnTo>
                    <a:lnTo>
                      <a:pt x="49393" y="212090"/>
                    </a:lnTo>
                    <a:lnTo>
                      <a:pt x="18732" y="212090"/>
                    </a:lnTo>
                    <a:lnTo>
                      <a:pt x="11863" y="204470"/>
                    </a:lnTo>
                    <a:lnTo>
                      <a:pt x="11863" y="187960"/>
                    </a:lnTo>
                    <a:lnTo>
                      <a:pt x="18732" y="181610"/>
                    </a:lnTo>
                    <a:lnTo>
                      <a:pt x="49792" y="181610"/>
                    </a:lnTo>
                    <a:lnTo>
                      <a:pt x="43862" y="175260"/>
                    </a:lnTo>
                    <a:lnTo>
                      <a:pt x="36150" y="171450"/>
                    </a:lnTo>
                    <a:lnTo>
                      <a:pt x="27171" y="168910"/>
                    </a:lnTo>
                    <a:close/>
                  </a:path>
                  <a:path w="797559" h="598169">
                    <a:moveTo>
                      <a:pt x="700732" y="129540"/>
                    </a:moveTo>
                    <a:lnTo>
                      <a:pt x="662157" y="129540"/>
                    </a:lnTo>
                    <a:lnTo>
                      <a:pt x="662157" y="218440"/>
                    </a:lnTo>
                    <a:lnTo>
                      <a:pt x="700732" y="218440"/>
                    </a:lnTo>
                    <a:lnTo>
                      <a:pt x="700732" y="129540"/>
                    </a:lnTo>
                    <a:close/>
                  </a:path>
                  <a:path w="797559" h="598169">
                    <a:moveTo>
                      <a:pt x="770238" y="199390"/>
                    </a:moveTo>
                    <a:lnTo>
                      <a:pt x="761427" y="200660"/>
                    </a:lnTo>
                    <a:lnTo>
                      <a:pt x="753822" y="204470"/>
                    </a:lnTo>
                    <a:lnTo>
                      <a:pt x="747909" y="210820"/>
                    </a:lnTo>
                    <a:lnTo>
                      <a:pt x="744176" y="218440"/>
                    </a:lnTo>
                    <a:lnTo>
                      <a:pt x="754929" y="218440"/>
                    </a:lnTo>
                    <a:lnTo>
                      <a:pt x="761798" y="210820"/>
                    </a:lnTo>
                    <a:lnTo>
                      <a:pt x="791941" y="210820"/>
                    </a:lnTo>
                    <a:lnTo>
                      <a:pt x="789443" y="207010"/>
                    </a:lnTo>
                    <a:lnTo>
                      <a:pt x="780805" y="201930"/>
                    </a:lnTo>
                    <a:lnTo>
                      <a:pt x="770238" y="199390"/>
                    </a:lnTo>
                    <a:close/>
                  </a:path>
                  <a:path w="797559" h="598169">
                    <a:moveTo>
                      <a:pt x="49792" y="181610"/>
                    </a:moveTo>
                    <a:lnTo>
                      <a:pt x="35611" y="181610"/>
                    </a:lnTo>
                    <a:lnTo>
                      <a:pt x="42469" y="187960"/>
                    </a:lnTo>
                    <a:lnTo>
                      <a:pt x="42469" y="204470"/>
                    </a:lnTo>
                    <a:lnTo>
                      <a:pt x="35611" y="212090"/>
                    </a:lnTo>
                    <a:lnTo>
                      <a:pt x="49393" y="212090"/>
                    </a:lnTo>
                    <a:lnTo>
                      <a:pt x="50584" y="210820"/>
                    </a:lnTo>
                    <a:lnTo>
                      <a:pt x="53872" y="201930"/>
                    </a:lnTo>
                    <a:lnTo>
                      <a:pt x="99400" y="200660"/>
                    </a:lnTo>
                    <a:lnTo>
                      <a:pt x="137974" y="200660"/>
                    </a:lnTo>
                    <a:lnTo>
                      <a:pt x="137974" y="189230"/>
                    </a:lnTo>
                    <a:lnTo>
                      <a:pt x="53422" y="189230"/>
                    </a:lnTo>
                    <a:lnTo>
                      <a:pt x="49792" y="181610"/>
                    </a:lnTo>
                    <a:close/>
                  </a:path>
                  <a:path w="797559" h="598169">
                    <a:moveTo>
                      <a:pt x="137974" y="100330"/>
                    </a:moveTo>
                    <a:lnTo>
                      <a:pt x="99400" y="100330"/>
                    </a:lnTo>
                    <a:lnTo>
                      <a:pt x="99400" y="189230"/>
                    </a:lnTo>
                    <a:lnTo>
                      <a:pt x="137974" y="189230"/>
                    </a:lnTo>
                    <a:lnTo>
                      <a:pt x="137974" y="100330"/>
                    </a:lnTo>
                    <a:close/>
                  </a:path>
                  <a:path w="797559" h="598169">
                    <a:moveTo>
                      <a:pt x="431970" y="102870"/>
                    </a:moveTo>
                    <a:lnTo>
                      <a:pt x="399820" y="102870"/>
                    </a:lnTo>
                    <a:lnTo>
                      <a:pt x="468257" y="129540"/>
                    </a:lnTo>
                    <a:lnTo>
                      <a:pt x="743432" y="129540"/>
                    </a:lnTo>
                    <a:lnTo>
                      <a:pt x="746578" y="138430"/>
                    </a:lnTo>
                    <a:lnTo>
                      <a:pt x="752524" y="146050"/>
                    </a:lnTo>
                    <a:lnTo>
                      <a:pt x="760625" y="151130"/>
                    </a:lnTo>
                    <a:lnTo>
                      <a:pt x="770238" y="152400"/>
                    </a:lnTo>
                    <a:lnTo>
                      <a:pt x="780805" y="151130"/>
                    </a:lnTo>
                    <a:lnTo>
                      <a:pt x="789443" y="144780"/>
                    </a:lnTo>
                    <a:lnTo>
                      <a:pt x="791941" y="140970"/>
                    </a:lnTo>
                    <a:lnTo>
                      <a:pt x="761798" y="140970"/>
                    </a:lnTo>
                    <a:lnTo>
                      <a:pt x="754929" y="134620"/>
                    </a:lnTo>
                    <a:lnTo>
                      <a:pt x="754929" y="118110"/>
                    </a:lnTo>
                    <a:lnTo>
                      <a:pt x="470551" y="118110"/>
                    </a:lnTo>
                    <a:lnTo>
                      <a:pt x="431970" y="102870"/>
                    </a:lnTo>
                    <a:close/>
                  </a:path>
                  <a:path w="797559" h="598169">
                    <a:moveTo>
                      <a:pt x="791941" y="110490"/>
                    </a:moveTo>
                    <a:lnTo>
                      <a:pt x="778677" y="110490"/>
                    </a:lnTo>
                    <a:lnTo>
                      <a:pt x="785546" y="116840"/>
                    </a:lnTo>
                    <a:lnTo>
                      <a:pt x="785546" y="134620"/>
                    </a:lnTo>
                    <a:lnTo>
                      <a:pt x="778677" y="140970"/>
                    </a:lnTo>
                    <a:lnTo>
                      <a:pt x="791941" y="140970"/>
                    </a:lnTo>
                    <a:lnTo>
                      <a:pt x="795271" y="135890"/>
                    </a:lnTo>
                    <a:lnTo>
                      <a:pt x="797410" y="125730"/>
                    </a:lnTo>
                    <a:lnTo>
                      <a:pt x="795271" y="115570"/>
                    </a:lnTo>
                    <a:lnTo>
                      <a:pt x="791941" y="110490"/>
                    </a:lnTo>
                    <a:close/>
                  </a:path>
                  <a:path w="797559" h="598169">
                    <a:moveTo>
                      <a:pt x="27171" y="68580"/>
                    </a:moveTo>
                    <a:lnTo>
                      <a:pt x="16605" y="69850"/>
                    </a:lnTo>
                    <a:lnTo>
                      <a:pt x="7967" y="76200"/>
                    </a:lnTo>
                    <a:lnTo>
                      <a:pt x="2138" y="85090"/>
                    </a:lnTo>
                    <a:lnTo>
                      <a:pt x="0" y="95250"/>
                    </a:lnTo>
                    <a:lnTo>
                      <a:pt x="2138" y="105410"/>
                    </a:lnTo>
                    <a:lnTo>
                      <a:pt x="7967" y="114300"/>
                    </a:lnTo>
                    <a:lnTo>
                      <a:pt x="16605" y="120650"/>
                    </a:lnTo>
                    <a:lnTo>
                      <a:pt x="27171" y="123190"/>
                    </a:lnTo>
                    <a:lnTo>
                      <a:pt x="36621" y="120650"/>
                    </a:lnTo>
                    <a:lnTo>
                      <a:pt x="44629" y="116840"/>
                    </a:lnTo>
                    <a:lnTo>
                      <a:pt x="49591" y="110490"/>
                    </a:lnTo>
                    <a:lnTo>
                      <a:pt x="18732" y="110490"/>
                    </a:lnTo>
                    <a:lnTo>
                      <a:pt x="11863" y="104140"/>
                    </a:lnTo>
                    <a:lnTo>
                      <a:pt x="11863" y="87630"/>
                    </a:lnTo>
                    <a:lnTo>
                      <a:pt x="18732" y="80010"/>
                    </a:lnTo>
                    <a:lnTo>
                      <a:pt x="49792" y="80010"/>
                    </a:lnTo>
                    <a:lnTo>
                      <a:pt x="43862" y="73660"/>
                    </a:lnTo>
                    <a:lnTo>
                      <a:pt x="36150" y="69850"/>
                    </a:lnTo>
                    <a:lnTo>
                      <a:pt x="27171" y="68580"/>
                    </a:lnTo>
                    <a:close/>
                  </a:path>
                  <a:path w="797559" h="598169">
                    <a:moveTo>
                      <a:pt x="692837" y="38100"/>
                    </a:moveTo>
                    <a:lnTo>
                      <a:pt x="633006" y="38100"/>
                    </a:lnTo>
                    <a:lnTo>
                      <a:pt x="644342" y="40640"/>
                    </a:lnTo>
                    <a:lnTo>
                      <a:pt x="653609" y="46990"/>
                    </a:lnTo>
                    <a:lnTo>
                      <a:pt x="659863" y="55880"/>
                    </a:lnTo>
                    <a:lnTo>
                      <a:pt x="662157" y="67310"/>
                    </a:lnTo>
                    <a:lnTo>
                      <a:pt x="662157" y="118110"/>
                    </a:lnTo>
                    <a:lnTo>
                      <a:pt x="700732" y="118110"/>
                    </a:lnTo>
                    <a:lnTo>
                      <a:pt x="700732" y="67310"/>
                    </a:lnTo>
                    <a:lnTo>
                      <a:pt x="695401" y="41910"/>
                    </a:lnTo>
                    <a:lnTo>
                      <a:pt x="692837" y="38100"/>
                    </a:lnTo>
                    <a:close/>
                  </a:path>
                  <a:path w="797559" h="598169">
                    <a:moveTo>
                      <a:pt x="770238" y="97790"/>
                    </a:moveTo>
                    <a:lnTo>
                      <a:pt x="761427" y="100330"/>
                    </a:lnTo>
                    <a:lnTo>
                      <a:pt x="753822" y="104140"/>
                    </a:lnTo>
                    <a:lnTo>
                      <a:pt x="747909" y="110490"/>
                    </a:lnTo>
                    <a:lnTo>
                      <a:pt x="744176" y="118110"/>
                    </a:lnTo>
                    <a:lnTo>
                      <a:pt x="754929" y="118110"/>
                    </a:lnTo>
                    <a:lnTo>
                      <a:pt x="754929" y="116840"/>
                    </a:lnTo>
                    <a:lnTo>
                      <a:pt x="761798" y="110490"/>
                    </a:lnTo>
                    <a:lnTo>
                      <a:pt x="791941" y="110490"/>
                    </a:lnTo>
                    <a:lnTo>
                      <a:pt x="789443" y="106680"/>
                    </a:lnTo>
                    <a:lnTo>
                      <a:pt x="780805" y="100330"/>
                    </a:lnTo>
                    <a:lnTo>
                      <a:pt x="770238" y="97790"/>
                    </a:lnTo>
                    <a:close/>
                  </a:path>
                  <a:path w="797559" h="598169">
                    <a:moveTo>
                      <a:pt x="49792" y="80010"/>
                    </a:moveTo>
                    <a:lnTo>
                      <a:pt x="35611" y="80010"/>
                    </a:lnTo>
                    <a:lnTo>
                      <a:pt x="42469" y="87630"/>
                    </a:lnTo>
                    <a:lnTo>
                      <a:pt x="42469" y="104140"/>
                    </a:lnTo>
                    <a:lnTo>
                      <a:pt x="35611" y="110490"/>
                    </a:lnTo>
                    <a:lnTo>
                      <a:pt x="49591" y="110490"/>
                    </a:lnTo>
                    <a:lnTo>
                      <a:pt x="50584" y="109220"/>
                    </a:lnTo>
                    <a:lnTo>
                      <a:pt x="53872" y="100330"/>
                    </a:lnTo>
                    <a:lnTo>
                      <a:pt x="137974" y="100330"/>
                    </a:lnTo>
                    <a:lnTo>
                      <a:pt x="137974" y="88900"/>
                    </a:lnTo>
                    <a:lnTo>
                      <a:pt x="53422" y="88900"/>
                    </a:lnTo>
                    <a:lnTo>
                      <a:pt x="49792" y="80010"/>
                    </a:lnTo>
                    <a:close/>
                  </a:path>
                  <a:path w="797559" h="598169">
                    <a:moveTo>
                      <a:pt x="633006" y="0"/>
                    </a:moveTo>
                    <a:lnTo>
                      <a:pt x="167125" y="0"/>
                    </a:lnTo>
                    <a:lnTo>
                      <a:pt x="140791" y="5080"/>
                    </a:lnTo>
                    <a:lnTo>
                      <a:pt x="119260" y="20320"/>
                    </a:lnTo>
                    <a:lnTo>
                      <a:pt x="104731" y="41910"/>
                    </a:lnTo>
                    <a:lnTo>
                      <a:pt x="99400" y="67310"/>
                    </a:lnTo>
                    <a:lnTo>
                      <a:pt x="99400" y="87630"/>
                    </a:lnTo>
                    <a:lnTo>
                      <a:pt x="53422" y="88900"/>
                    </a:lnTo>
                    <a:lnTo>
                      <a:pt x="137974" y="88900"/>
                    </a:lnTo>
                    <a:lnTo>
                      <a:pt x="137974" y="67310"/>
                    </a:lnTo>
                    <a:lnTo>
                      <a:pt x="140269" y="55880"/>
                    </a:lnTo>
                    <a:lnTo>
                      <a:pt x="146523" y="46990"/>
                    </a:lnTo>
                    <a:lnTo>
                      <a:pt x="155790" y="40640"/>
                    </a:lnTo>
                    <a:lnTo>
                      <a:pt x="167125" y="38100"/>
                    </a:lnTo>
                    <a:lnTo>
                      <a:pt x="692837" y="38100"/>
                    </a:lnTo>
                    <a:lnTo>
                      <a:pt x="680871" y="20320"/>
                    </a:lnTo>
                    <a:lnTo>
                      <a:pt x="659341" y="5080"/>
                    </a:lnTo>
                    <a:lnTo>
                      <a:pt x="633006"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Real Text Pro"/>
                  <a:ea typeface="+mn-ea"/>
                  <a:cs typeface="+mn-cs"/>
                </a:endParaRPr>
              </a:p>
            </p:txBody>
          </p:sp>
          <p:pic>
            <p:nvPicPr>
              <p:cNvPr id="27" name="object 13">
                <a:extLst>
                  <a:ext uri="{FF2B5EF4-FFF2-40B4-BE49-F238E27FC236}">
                    <a16:creationId xmlns:a16="http://schemas.microsoft.com/office/drawing/2014/main" id="{E3060F62-68D2-E420-42A1-40E04916A415}"/>
                  </a:ext>
                </a:extLst>
              </p:cNvPr>
              <p:cNvPicPr/>
              <p:nvPr/>
            </p:nvPicPr>
            <p:blipFill>
              <a:blip r:embed="rId3" cstate="print"/>
              <a:stretch>
                <a:fillRect/>
              </a:stretch>
            </p:blipFill>
            <p:spPr>
              <a:xfrm>
                <a:off x="13479218" y="899211"/>
                <a:ext cx="206204" cy="209910"/>
              </a:xfrm>
              <a:prstGeom prst="rect">
                <a:avLst/>
              </a:prstGeom>
            </p:spPr>
          </p:pic>
        </p:grpSp>
        <p:grpSp>
          <p:nvGrpSpPr>
            <p:cNvPr id="15" name="object 14">
              <a:extLst>
                <a:ext uri="{FF2B5EF4-FFF2-40B4-BE49-F238E27FC236}">
                  <a16:creationId xmlns:a16="http://schemas.microsoft.com/office/drawing/2014/main" id="{43D0F5F5-FA6D-63C5-0D79-20043BDE7197}"/>
                </a:ext>
              </a:extLst>
            </p:cNvPr>
            <p:cNvGrpSpPr/>
            <p:nvPr/>
          </p:nvGrpSpPr>
          <p:grpSpPr>
            <a:xfrm>
              <a:off x="8620222" y="563058"/>
              <a:ext cx="154767" cy="148222"/>
              <a:chOff x="14215470" y="927625"/>
              <a:chExt cx="255270" cy="244475"/>
            </a:xfrm>
          </p:grpSpPr>
          <p:pic>
            <p:nvPicPr>
              <p:cNvPr id="24" name="object 15">
                <a:extLst>
                  <a:ext uri="{FF2B5EF4-FFF2-40B4-BE49-F238E27FC236}">
                    <a16:creationId xmlns:a16="http://schemas.microsoft.com/office/drawing/2014/main" id="{E7623091-E1B7-31E9-E106-637F0ED9249F}"/>
                  </a:ext>
                </a:extLst>
              </p:cNvPr>
              <p:cNvPicPr/>
              <p:nvPr/>
            </p:nvPicPr>
            <p:blipFill>
              <a:blip r:embed="rId4" cstate="print"/>
              <a:stretch>
                <a:fillRect/>
              </a:stretch>
            </p:blipFill>
            <p:spPr>
              <a:xfrm>
                <a:off x="14215470" y="927625"/>
                <a:ext cx="171837" cy="243919"/>
              </a:xfrm>
              <a:prstGeom prst="rect">
                <a:avLst/>
              </a:prstGeom>
            </p:spPr>
          </p:pic>
          <p:sp>
            <p:nvSpPr>
              <p:cNvPr id="25" name="object 16">
                <a:extLst>
                  <a:ext uri="{FF2B5EF4-FFF2-40B4-BE49-F238E27FC236}">
                    <a16:creationId xmlns:a16="http://schemas.microsoft.com/office/drawing/2014/main" id="{DBBD17B2-14BE-29FC-4E40-28A2731128DB}"/>
                  </a:ext>
                </a:extLst>
              </p:cNvPr>
              <p:cNvSpPr/>
              <p:nvPr/>
            </p:nvSpPr>
            <p:spPr>
              <a:xfrm>
                <a:off x="14418868" y="1070878"/>
                <a:ext cx="52069" cy="96520"/>
              </a:xfrm>
              <a:custGeom>
                <a:avLst/>
                <a:gdLst/>
                <a:ahLst/>
                <a:cxnLst/>
                <a:rect l="l" t="t" r="r" b="b"/>
                <a:pathLst>
                  <a:path w="52069" h="96519">
                    <a:moveTo>
                      <a:pt x="0" y="96520"/>
                    </a:moveTo>
                    <a:lnTo>
                      <a:pt x="51830" y="96520"/>
                    </a:lnTo>
                    <a:lnTo>
                      <a:pt x="51830" y="0"/>
                    </a:lnTo>
                    <a:lnTo>
                      <a:pt x="0" y="0"/>
                    </a:lnTo>
                    <a:lnTo>
                      <a:pt x="0" y="9652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Real Text Pro"/>
                  <a:ea typeface="+mn-ea"/>
                  <a:cs typeface="+mn-cs"/>
                </a:endParaRPr>
              </a:p>
            </p:txBody>
          </p:sp>
        </p:grpSp>
        <p:sp>
          <p:nvSpPr>
            <p:cNvPr id="16" name="object 17">
              <a:extLst>
                <a:ext uri="{FF2B5EF4-FFF2-40B4-BE49-F238E27FC236}">
                  <a16:creationId xmlns:a16="http://schemas.microsoft.com/office/drawing/2014/main" id="{C844F709-EBDE-4E01-4E26-D822C8D7B0B8}"/>
                </a:ext>
              </a:extLst>
            </p:cNvPr>
            <p:cNvSpPr/>
            <p:nvPr/>
          </p:nvSpPr>
          <p:spPr>
            <a:xfrm>
              <a:off x="8743531" y="565215"/>
              <a:ext cx="97788" cy="143217"/>
            </a:xfrm>
            <a:custGeom>
              <a:avLst/>
              <a:gdLst/>
              <a:ahLst/>
              <a:cxnLst/>
              <a:rect l="l" t="t" r="r" b="b"/>
              <a:pathLst>
                <a:path w="161290" h="236219">
                  <a:moveTo>
                    <a:pt x="160832" y="0"/>
                  </a:moveTo>
                  <a:lnTo>
                    <a:pt x="108991" y="0"/>
                  </a:lnTo>
                  <a:lnTo>
                    <a:pt x="108991" y="95250"/>
                  </a:lnTo>
                  <a:lnTo>
                    <a:pt x="51841" y="95250"/>
                  </a:lnTo>
                  <a:lnTo>
                    <a:pt x="51841" y="0"/>
                  </a:lnTo>
                  <a:lnTo>
                    <a:pt x="0" y="0"/>
                  </a:lnTo>
                  <a:lnTo>
                    <a:pt x="0" y="95250"/>
                  </a:lnTo>
                  <a:lnTo>
                    <a:pt x="0" y="139700"/>
                  </a:lnTo>
                  <a:lnTo>
                    <a:pt x="108991" y="139700"/>
                  </a:lnTo>
                  <a:lnTo>
                    <a:pt x="108991" y="236220"/>
                  </a:lnTo>
                  <a:lnTo>
                    <a:pt x="160832" y="236220"/>
                  </a:lnTo>
                  <a:lnTo>
                    <a:pt x="160832" y="139700"/>
                  </a:lnTo>
                  <a:lnTo>
                    <a:pt x="160832" y="95250"/>
                  </a:lnTo>
                  <a:lnTo>
                    <a:pt x="160832"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Real Text Pro"/>
                <a:ea typeface="+mn-ea"/>
                <a:cs typeface="+mn-cs"/>
              </a:endParaRPr>
            </a:p>
          </p:txBody>
        </p:sp>
        <p:sp>
          <p:nvSpPr>
            <p:cNvPr id="17" name="object 18">
              <a:extLst>
                <a:ext uri="{FF2B5EF4-FFF2-40B4-BE49-F238E27FC236}">
                  <a16:creationId xmlns:a16="http://schemas.microsoft.com/office/drawing/2014/main" id="{3144C06A-3DDF-B665-CF3A-2F6161039B7B}"/>
                </a:ext>
              </a:extLst>
            </p:cNvPr>
            <p:cNvSpPr/>
            <p:nvPr/>
          </p:nvSpPr>
          <p:spPr>
            <a:xfrm>
              <a:off x="8868146" y="565211"/>
              <a:ext cx="31569" cy="143601"/>
            </a:xfrm>
            <a:custGeom>
              <a:avLst/>
              <a:gdLst/>
              <a:ahLst/>
              <a:cxnLst/>
              <a:rect l="l" t="t" r="r" b="b"/>
              <a:pathLst>
                <a:path w="52069" h="236855">
                  <a:moveTo>
                    <a:pt x="51830" y="0"/>
                  </a:moveTo>
                  <a:lnTo>
                    <a:pt x="0" y="0"/>
                  </a:lnTo>
                  <a:lnTo>
                    <a:pt x="0" y="236820"/>
                  </a:lnTo>
                  <a:lnTo>
                    <a:pt x="51830" y="236820"/>
                  </a:lnTo>
                  <a:lnTo>
                    <a:pt x="5183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Real Text Pro"/>
                <a:ea typeface="+mn-ea"/>
                <a:cs typeface="+mn-cs"/>
              </a:endParaRPr>
            </a:p>
          </p:txBody>
        </p:sp>
        <p:pic>
          <p:nvPicPr>
            <p:cNvPr id="18" name="object 19">
              <a:extLst>
                <a:ext uri="{FF2B5EF4-FFF2-40B4-BE49-F238E27FC236}">
                  <a16:creationId xmlns:a16="http://schemas.microsoft.com/office/drawing/2014/main" id="{2DF19FB4-3939-3721-4A0F-4FB452888519}"/>
                </a:ext>
              </a:extLst>
            </p:cNvPr>
            <p:cNvPicPr/>
            <p:nvPr/>
          </p:nvPicPr>
          <p:blipFill>
            <a:blip r:embed="rId5" cstate="print"/>
            <a:stretch>
              <a:fillRect/>
            </a:stretch>
          </p:blipFill>
          <p:spPr>
            <a:xfrm>
              <a:off x="8926675" y="563062"/>
              <a:ext cx="203386" cy="147878"/>
            </a:xfrm>
            <a:prstGeom prst="rect">
              <a:avLst/>
            </a:prstGeom>
          </p:spPr>
        </p:pic>
        <p:grpSp>
          <p:nvGrpSpPr>
            <p:cNvPr id="19" name="object 20">
              <a:extLst>
                <a:ext uri="{FF2B5EF4-FFF2-40B4-BE49-F238E27FC236}">
                  <a16:creationId xmlns:a16="http://schemas.microsoft.com/office/drawing/2014/main" id="{0AD56A58-8155-60E4-BC8B-221032881A1E}"/>
                </a:ext>
              </a:extLst>
            </p:cNvPr>
            <p:cNvGrpSpPr/>
            <p:nvPr/>
          </p:nvGrpSpPr>
          <p:grpSpPr>
            <a:xfrm>
              <a:off x="8600880" y="735064"/>
              <a:ext cx="538218" cy="85083"/>
              <a:chOff x="14183569" y="1211327"/>
              <a:chExt cx="887730" cy="140335"/>
            </a:xfrm>
          </p:grpSpPr>
          <p:pic>
            <p:nvPicPr>
              <p:cNvPr id="21" name="object 21">
                <a:extLst>
                  <a:ext uri="{FF2B5EF4-FFF2-40B4-BE49-F238E27FC236}">
                    <a16:creationId xmlns:a16="http://schemas.microsoft.com/office/drawing/2014/main" id="{EB34DF00-481B-4391-087C-C1DCD7C653D3}"/>
                  </a:ext>
                </a:extLst>
              </p:cNvPr>
              <p:cNvPicPr/>
              <p:nvPr/>
            </p:nvPicPr>
            <p:blipFill>
              <a:blip r:embed="rId6" cstate="print"/>
              <a:stretch>
                <a:fillRect/>
              </a:stretch>
            </p:blipFill>
            <p:spPr>
              <a:xfrm>
                <a:off x="14183569" y="1211327"/>
                <a:ext cx="181745" cy="140267"/>
              </a:xfrm>
              <a:prstGeom prst="rect">
                <a:avLst/>
              </a:prstGeom>
            </p:spPr>
          </p:pic>
          <p:pic>
            <p:nvPicPr>
              <p:cNvPr id="22" name="object 22">
                <a:extLst>
                  <a:ext uri="{FF2B5EF4-FFF2-40B4-BE49-F238E27FC236}">
                    <a16:creationId xmlns:a16="http://schemas.microsoft.com/office/drawing/2014/main" id="{A7E77B51-548D-B81C-2546-FD1493B71AC6}"/>
                  </a:ext>
                </a:extLst>
              </p:cNvPr>
              <p:cNvPicPr/>
              <p:nvPr/>
            </p:nvPicPr>
            <p:blipFill>
              <a:blip r:embed="rId7" cstate="print"/>
              <a:stretch>
                <a:fillRect/>
              </a:stretch>
            </p:blipFill>
            <p:spPr>
              <a:xfrm>
                <a:off x="14396082" y="1217741"/>
                <a:ext cx="226103" cy="102029"/>
              </a:xfrm>
              <a:prstGeom prst="rect">
                <a:avLst/>
              </a:prstGeom>
            </p:spPr>
          </p:pic>
          <p:pic>
            <p:nvPicPr>
              <p:cNvPr id="23" name="object 23">
                <a:extLst>
                  <a:ext uri="{FF2B5EF4-FFF2-40B4-BE49-F238E27FC236}">
                    <a16:creationId xmlns:a16="http://schemas.microsoft.com/office/drawing/2014/main" id="{0A75ACC4-355A-D509-1493-6DD7F2592911}"/>
                  </a:ext>
                </a:extLst>
              </p:cNvPr>
              <p:cNvPicPr/>
              <p:nvPr/>
            </p:nvPicPr>
            <p:blipFill>
              <a:blip r:embed="rId8" cstate="print"/>
              <a:stretch>
                <a:fillRect/>
              </a:stretch>
            </p:blipFill>
            <p:spPr>
              <a:xfrm>
                <a:off x="14642404" y="1216069"/>
                <a:ext cx="428683" cy="105546"/>
              </a:xfrm>
              <a:prstGeom prst="rect">
                <a:avLst/>
              </a:prstGeom>
            </p:spPr>
          </p:pic>
        </p:grpSp>
        <p:pic>
          <p:nvPicPr>
            <p:cNvPr id="20" name="object 24">
              <a:extLst>
                <a:ext uri="{FF2B5EF4-FFF2-40B4-BE49-F238E27FC236}">
                  <a16:creationId xmlns:a16="http://schemas.microsoft.com/office/drawing/2014/main" id="{7DB5EFED-9E85-DAEF-ADFA-CC52A4E14063}"/>
                </a:ext>
              </a:extLst>
            </p:cNvPr>
            <p:cNvPicPr/>
            <p:nvPr/>
          </p:nvPicPr>
          <p:blipFill>
            <a:blip r:embed="rId9" cstate="print"/>
            <a:srcRect t="2" r="8299" b="42551"/>
            <a:stretch/>
          </p:blipFill>
          <p:spPr>
            <a:xfrm>
              <a:off x="11109501" y="589948"/>
              <a:ext cx="673884" cy="185327"/>
            </a:xfrm>
            <a:prstGeom prst="rect">
              <a:avLst/>
            </a:prstGeom>
          </p:spPr>
        </p:pic>
      </p:grpSp>
    </p:spTree>
    <p:extLst>
      <p:ext uri="{BB962C8B-B14F-4D97-AF65-F5344CB8AC3E}">
        <p14:creationId xmlns:p14="http://schemas.microsoft.com/office/powerpoint/2010/main" val="9132650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F42569B-14C1-480A-826C-27D70A3288BE}" type="datetimeFigureOut">
              <a:rPr lang="en-US" smtClean="0"/>
              <a:t>4/2/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B05F229-852D-4A77-95BA-3D996206520B}" type="slidenum">
              <a:rPr lang="en-US" smtClean="0"/>
              <a:t>‹#›</a:t>
            </a:fld>
            <a:endParaRPr lang="en-US"/>
          </a:p>
        </p:txBody>
      </p:sp>
    </p:spTree>
    <p:extLst>
      <p:ext uri="{BB962C8B-B14F-4D97-AF65-F5344CB8AC3E}">
        <p14:creationId xmlns:p14="http://schemas.microsoft.com/office/powerpoint/2010/main" val="291163100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4_Title Subtitle and graphic - Dark">
    <p:bg>
      <p:bgPr>
        <a:solidFill>
          <a:schemeClr val="tx2"/>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C16F05C-4BB9-7C82-C709-68EA2F74B897}"/>
              </a:ext>
            </a:extLst>
          </p:cNvPr>
          <p:cNvSpPr>
            <a:spLocks noGrp="1"/>
          </p:cNvSpPr>
          <p:nvPr>
            <p:ph type="dt" sz="half" idx="10"/>
          </p:nvPr>
        </p:nvSpPr>
        <p:spPr/>
        <p:txBody>
          <a:bodyPr/>
          <a:lstStyle/>
          <a:p>
            <a:fld id="{538BA0BE-9994-4243-B399-F1EA7335824C}" type="datetime1">
              <a:rPr lang="en-US" smtClean="0"/>
              <a:t>4/2/2025</a:t>
            </a:fld>
            <a:endParaRPr lang="en-US"/>
          </a:p>
        </p:txBody>
      </p:sp>
      <p:sp>
        <p:nvSpPr>
          <p:cNvPr id="4" name="Footer Placeholder 3">
            <a:extLst>
              <a:ext uri="{FF2B5EF4-FFF2-40B4-BE49-F238E27FC236}">
                <a16:creationId xmlns:a16="http://schemas.microsoft.com/office/drawing/2014/main" id="{B562C211-B566-11DA-A38D-906051586563}"/>
              </a:ext>
            </a:extLst>
          </p:cNvPr>
          <p:cNvSpPr>
            <a:spLocks noGrp="1"/>
          </p:cNvSpPr>
          <p:nvPr>
            <p:ph type="ftr" sz="quarter" idx="11"/>
          </p:nvPr>
        </p:nvSpPr>
        <p:spPr/>
        <p:txBody>
          <a:bodyPr/>
          <a:lstStyle/>
          <a:p>
            <a:endParaRPr lang="en-US"/>
          </a:p>
        </p:txBody>
      </p:sp>
      <p:sp>
        <p:nvSpPr>
          <p:cNvPr id="6" name="object 24">
            <a:extLst>
              <a:ext uri="{FF2B5EF4-FFF2-40B4-BE49-F238E27FC236}">
                <a16:creationId xmlns:a16="http://schemas.microsoft.com/office/drawing/2014/main" id="{E5F920B2-E5F2-B5E1-9A23-2C5EE88B6F55}"/>
              </a:ext>
            </a:extLst>
          </p:cNvPr>
          <p:cNvSpPr/>
          <p:nvPr userDrawn="1"/>
        </p:nvSpPr>
        <p:spPr>
          <a:xfrm>
            <a:off x="1588" y="343463"/>
            <a:ext cx="152457" cy="6170641"/>
          </a:xfrm>
          <a:custGeom>
            <a:avLst/>
            <a:gdLst/>
            <a:ahLst/>
            <a:cxnLst/>
            <a:rect l="l" t="t" r="r" b="b"/>
            <a:pathLst>
              <a:path w="251460" h="10177780">
                <a:moveTo>
                  <a:pt x="251301" y="0"/>
                </a:moveTo>
                <a:lnTo>
                  <a:pt x="0" y="0"/>
                </a:lnTo>
                <a:lnTo>
                  <a:pt x="0" y="10177700"/>
                </a:lnTo>
                <a:lnTo>
                  <a:pt x="251301" y="10177700"/>
                </a:lnTo>
                <a:lnTo>
                  <a:pt x="251301" y="0"/>
                </a:lnTo>
                <a:close/>
              </a:path>
            </a:pathLst>
          </a:custGeom>
          <a:solidFill>
            <a:schemeClr val="accent3"/>
          </a:solidFill>
        </p:spPr>
        <p:txBody>
          <a:bodyPr wrap="square" lIns="0" tIns="0" rIns="0" bIns="0" rtlCol="0"/>
          <a:lstStyle/>
          <a:p>
            <a:endParaRPr kern="0">
              <a:solidFill>
                <a:sysClr val="windowText" lastClr="000000"/>
              </a:solidFill>
            </a:endParaRPr>
          </a:p>
        </p:txBody>
      </p:sp>
      <p:sp>
        <p:nvSpPr>
          <p:cNvPr id="7" name="Text Placeholder 32">
            <a:extLst>
              <a:ext uri="{FF2B5EF4-FFF2-40B4-BE49-F238E27FC236}">
                <a16:creationId xmlns:a16="http://schemas.microsoft.com/office/drawing/2014/main" id="{76176889-EC90-7074-D8BD-FB8FBFBCB343}"/>
              </a:ext>
            </a:extLst>
          </p:cNvPr>
          <p:cNvSpPr>
            <a:spLocks noGrp="1"/>
          </p:cNvSpPr>
          <p:nvPr>
            <p:ph type="body" sz="quarter" idx="14" hasCustomPrompt="1"/>
          </p:nvPr>
        </p:nvSpPr>
        <p:spPr>
          <a:xfrm>
            <a:off x="763623" y="332656"/>
            <a:ext cx="8229600" cy="914400"/>
          </a:xfrm>
        </p:spPr>
        <p:txBody>
          <a:bodyPr anchor="b"/>
          <a:lstStyle>
            <a:lvl1pPr marL="0" indent="0">
              <a:spcBef>
                <a:spcPts val="0"/>
              </a:spcBef>
              <a:buNone/>
              <a:defRPr sz="3150">
                <a:solidFill>
                  <a:schemeClr val="bg1"/>
                </a:solidFill>
                <a:latin typeface="+mj-lt"/>
              </a:defRPr>
            </a:lvl1pPr>
          </a:lstStyle>
          <a:p>
            <a:pPr lvl="0"/>
            <a:r>
              <a:rPr lang="en-US"/>
              <a:t>Heading</a:t>
            </a:r>
          </a:p>
        </p:txBody>
      </p:sp>
      <p:sp>
        <p:nvSpPr>
          <p:cNvPr id="10" name="Text Placeholder 9">
            <a:extLst>
              <a:ext uri="{FF2B5EF4-FFF2-40B4-BE49-F238E27FC236}">
                <a16:creationId xmlns:a16="http://schemas.microsoft.com/office/drawing/2014/main" id="{37CFB753-B7D0-7691-BBDF-851034055F44}"/>
              </a:ext>
            </a:extLst>
          </p:cNvPr>
          <p:cNvSpPr>
            <a:spLocks noGrp="1"/>
          </p:cNvSpPr>
          <p:nvPr>
            <p:ph type="body" sz="quarter" idx="15"/>
          </p:nvPr>
        </p:nvSpPr>
        <p:spPr>
          <a:xfrm>
            <a:off x="763623" y="1304764"/>
            <a:ext cx="8229600" cy="457200"/>
          </a:xfrm>
        </p:spPr>
        <p:txBody>
          <a:bodyPr/>
          <a:lstStyle>
            <a:lvl1pPr marL="0" indent="0">
              <a:buNone/>
              <a:defRPr sz="2400" b="0">
                <a:solidFill>
                  <a:schemeClr val="accent3"/>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8" name="Slide Number Box">
            <a:extLst>
              <a:ext uri="{FF2B5EF4-FFF2-40B4-BE49-F238E27FC236}">
                <a16:creationId xmlns:a16="http://schemas.microsoft.com/office/drawing/2014/main" id="{0F62DB2E-BAFF-C32E-D7F1-267A0C3E04A9}"/>
              </a:ext>
            </a:extLst>
          </p:cNvPr>
          <p:cNvSpPr txBox="1"/>
          <p:nvPr userDrawn="1"/>
        </p:nvSpPr>
        <p:spPr>
          <a:xfrm>
            <a:off x="11566535" y="6234575"/>
            <a:ext cx="279503" cy="283464"/>
          </a:xfrm>
          <a:prstGeom prst="rect">
            <a:avLst/>
          </a:prstGeom>
          <a:solidFill>
            <a:srgbClr val="FFD700"/>
          </a:solidFill>
        </p:spPr>
        <p:txBody>
          <a:bodyPr vert="horz" wrap="square" lIns="0" tIns="38884" rIns="0" bIns="0" rtlCol="0">
            <a:spAutoFit/>
          </a:bodyPr>
          <a:lstStyle/>
          <a:p>
            <a:pPr marL="55825" algn="ctr">
              <a:spcBef>
                <a:spcPts val="306"/>
              </a:spcBef>
            </a:pPr>
            <a:endParaRPr sz="1182">
              <a:latin typeface="Real Head Pro"/>
              <a:cs typeface="Real Head Pro"/>
            </a:endParaRPr>
          </a:p>
        </p:txBody>
      </p:sp>
      <p:sp>
        <p:nvSpPr>
          <p:cNvPr id="9" name="Slide Number Placeholder 4">
            <a:extLst>
              <a:ext uri="{FF2B5EF4-FFF2-40B4-BE49-F238E27FC236}">
                <a16:creationId xmlns:a16="http://schemas.microsoft.com/office/drawing/2014/main" id="{F19D5302-242A-C96C-DC51-6B38927710A9}"/>
              </a:ext>
            </a:extLst>
          </p:cNvPr>
          <p:cNvSpPr>
            <a:spLocks noGrp="1"/>
          </p:cNvSpPr>
          <p:nvPr>
            <p:ph type="sldNum" sz="quarter" idx="12"/>
          </p:nvPr>
        </p:nvSpPr>
        <p:spPr>
          <a:xfrm>
            <a:off x="11562574" y="6234576"/>
            <a:ext cx="283464" cy="283464"/>
          </a:xfrm>
        </p:spPr>
        <p:txBody>
          <a:bodyPr/>
          <a:lstStyle/>
          <a:p>
            <a:fld id="{FF7D9A68-EC15-4B1F-850C-8A6CCAFA90D8}" type="slidenum">
              <a:rPr lang="en-US" smtClean="0"/>
              <a:pPr/>
              <a:t>‹#›</a:t>
            </a:fld>
            <a:endParaRPr lang="en-US"/>
          </a:p>
        </p:txBody>
      </p:sp>
      <p:grpSp>
        <p:nvGrpSpPr>
          <p:cNvPr id="5" name="Group 4">
            <a:extLst>
              <a:ext uri="{FF2B5EF4-FFF2-40B4-BE49-F238E27FC236}">
                <a16:creationId xmlns:a16="http://schemas.microsoft.com/office/drawing/2014/main" id="{D616972C-D333-15E2-D96A-0340C9555CD3}"/>
              </a:ext>
            </a:extLst>
          </p:cNvPr>
          <p:cNvGrpSpPr>
            <a:grpSpLocks noChangeAspect="1"/>
          </p:cNvGrpSpPr>
          <p:nvPr userDrawn="1"/>
        </p:nvGrpSpPr>
        <p:grpSpPr>
          <a:xfrm>
            <a:off x="8507138" y="6238683"/>
            <a:ext cx="2962386" cy="292608"/>
            <a:chOff x="8076687" y="508520"/>
            <a:chExt cx="3706698" cy="366127"/>
          </a:xfrm>
        </p:grpSpPr>
        <p:pic>
          <p:nvPicPr>
            <p:cNvPr id="11" name="object 4">
              <a:extLst>
                <a:ext uri="{FF2B5EF4-FFF2-40B4-BE49-F238E27FC236}">
                  <a16:creationId xmlns:a16="http://schemas.microsoft.com/office/drawing/2014/main" id="{0B89CE77-7F77-262C-F241-EA0796B7C86C}"/>
                </a:ext>
              </a:extLst>
            </p:cNvPr>
            <p:cNvPicPr/>
            <p:nvPr/>
          </p:nvPicPr>
          <p:blipFill>
            <a:blip r:embed="rId2" cstate="print"/>
            <a:stretch>
              <a:fillRect/>
            </a:stretch>
          </p:blipFill>
          <p:spPr>
            <a:xfrm>
              <a:off x="9444187" y="568546"/>
              <a:ext cx="1372592" cy="246070"/>
            </a:xfrm>
            <a:prstGeom prst="rect">
              <a:avLst/>
            </a:prstGeom>
          </p:spPr>
        </p:pic>
        <p:sp>
          <p:nvSpPr>
            <p:cNvPr id="12" name="object 7">
              <a:extLst>
                <a:ext uri="{FF2B5EF4-FFF2-40B4-BE49-F238E27FC236}">
                  <a16:creationId xmlns:a16="http://schemas.microsoft.com/office/drawing/2014/main" id="{F2EC6DBE-A88E-6D88-97FD-6957BB21307B}"/>
                </a:ext>
              </a:extLst>
            </p:cNvPr>
            <p:cNvSpPr/>
            <p:nvPr/>
          </p:nvSpPr>
          <p:spPr>
            <a:xfrm>
              <a:off x="9291578" y="508520"/>
              <a:ext cx="0" cy="366127"/>
            </a:xfrm>
            <a:custGeom>
              <a:avLst/>
              <a:gdLst/>
              <a:ahLst/>
              <a:cxnLst/>
              <a:rect l="l" t="t" r="r" b="b"/>
              <a:pathLst>
                <a:path h="603885">
                  <a:moveTo>
                    <a:pt x="0" y="0"/>
                  </a:moveTo>
                  <a:lnTo>
                    <a:pt x="0" y="603876"/>
                  </a:lnTo>
                </a:path>
              </a:pathLst>
            </a:custGeom>
            <a:ln w="8481">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Real Text Pro"/>
                <a:ea typeface="+mn-ea"/>
                <a:cs typeface="+mn-cs"/>
              </a:endParaRPr>
            </a:p>
          </p:txBody>
        </p:sp>
        <p:sp>
          <p:nvSpPr>
            <p:cNvPr id="13" name="object 10">
              <a:extLst>
                <a:ext uri="{FF2B5EF4-FFF2-40B4-BE49-F238E27FC236}">
                  <a16:creationId xmlns:a16="http://schemas.microsoft.com/office/drawing/2014/main" id="{916B0288-3776-0214-B296-CD1D07B1884D}"/>
                </a:ext>
              </a:extLst>
            </p:cNvPr>
            <p:cNvSpPr/>
            <p:nvPr/>
          </p:nvSpPr>
          <p:spPr>
            <a:xfrm>
              <a:off x="10956631" y="508520"/>
              <a:ext cx="0" cy="366127"/>
            </a:xfrm>
            <a:custGeom>
              <a:avLst/>
              <a:gdLst/>
              <a:ahLst/>
              <a:cxnLst/>
              <a:rect l="l" t="t" r="r" b="b"/>
              <a:pathLst>
                <a:path h="603885">
                  <a:moveTo>
                    <a:pt x="0" y="0"/>
                  </a:moveTo>
                  <a:lnTo>
                    <a:pt x="0" y="603876"/>
                  </a:lnTo>
                </a:path>
              </a:pathLst>
            </a:custGeom>
            <a:ln w="8481">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Real Text Pro"/>
                <a:ea typeface="+mn-ea"/>
                <a:cs typeface="+mn-cs"/>
              </a:endParaRPr>
            </a:p>
          </p:txBody>
        </p:sp>
        <p:grpSp>
          <p:nvGrpSpPr>
            <p:cNvPr id="14" name="object 11">
              <a:extLst>
                <a:ext uri="{FF2B5EF4-FFF2-40B4-BE49-F238E27FC236}">
                  <a16:creationId xmlns:a16="http://schemas.microsoft.com/office/drawing/2014/main" id="{5C5AC547-E26A-3B56-8E42-4172A5D43468}"/>
                </a:ext>
              </a:extLst>
            </p:cNvPr>
            <p:cNvGrpSpPr/>
            <p:nvPr/>
          </p:nvGrpSpPr>
          <p:grpSpPr>
            <a:xfrm>
              <a:off x="8076687" y="510423"/>
              <a:ext cx="483549" cy="362662"/>
              <a:chOff x="13318969" y="840809"/>
              <a:chExt cx="797560" cy="598170"/>
            </a:xfrm>
          </p:grpSpPr>
          <p:sp>
            <p:nvSpPr>
              <p:cNvPr id="26" name="object 12">
                <a:extLst>
                  <a:ext uri="{FF2B5EF4-FFF2-40B4-BE49-F238E27FC236}">
                    <a16:creationId xmlns:a16="http://schemas.microsoft.com/office/drawing/2014/main" id="{06EF19A6-6147-9464-7F34-B6BCB7147B01}"/>
                  </a:ext>
                </a:extLst>
              </p:cNvPr>
              <p:cNvSpPr/>
              <p:nvPr/>
            </p:nvSpPr>
            <p:spPr>
              <a:xfrm>
                <a:off x="13318969" y="840809"/>
                <a:ext cx="797560" cy="598170"/>
              </a:xfrm>
              <a:custGeom>
                <a:avLst/>
                <a:gdLst/>
                <a:ahLst/>
                <a:cxnLst/>
                <a:rect l="l" t="t" r="r" b="b"/>
                <a:pathLst>
                  <a:path w="797559" h="598169">
                    <a:moveTo>
                      <a:pt x="137974" y="499110"/>
                    </a:moveTo>
                    <a:lnTo>
                      <a:pt x="99400" y="499110"/>
                    </a:lnTo>
                    <a:lnTo>
                      <a:pt x="99400" y="530860"/>
                    </a:lnTo>
                    <a:lnTo>
                      <a:pt x="104731" y="557530"/>
                    </a:lnTo>
                    <a:lnTo>
                      <a:pt x="119260" y="579120"/>
                    </a:lnTo>
                    <a:lnTo>
                      <a:pt x="140791" y="593090"/>
                    </a:lnTo>
                    <a:lnTo>
                      <a:pt x="167125" y="598170"/>
                    </a:lnTo>
                    <a:lnTo>
                      <a:pt x="633006" y="598170"/>
                    </a:lnTo>
                    <a:lnTo>
                      <a:pt x="659341" y="593090"/>
                    </a:lnTo>
                    <a:lnTo>
                      <a:pt x="680871" y="579120"/>
                    </a:lnTo>
                    <a:lnTo>
                      <a:pt x="693691" y="560070"/>
                    </a:lnTo>
                    <a:lnTo>
                      <a:pt x="167125" y="560070"/>
                    </a:lnTo>
                    <a:lnTo>
                      <a:pt x="155790" y="557530"/>
                    </a:lnTo>
                    <a:lnTo>
                      <a:pt x="146523" y="551180"/>
                    </a:lnTo>
                    <a:lnTo>
                      <a:pt x="140269" y="542290"/>
                    </a:lnTo>
                    <a:lnTo>
                      <a:pt x="137974" y="530860"/>
                    </a:lnTo>
                    <a:lnTo>
                      <a:pt x="137974" y="499110"/>
                    </a:lnTo>
                    <a:close/>
                  </a:path>
                  <a:path w="797559" h="598169">
                    <a:moveTo>
                      <a:pt x="700732" y="529590"/>
                    </a:moveTo>
                    <a:lnTo>
                      <a:pt x="662157" y="529590"/>
                    </a:lnTo>
                    <a:lnTo>
                      <a:pt x="662157" y="530860"/>
                    </a:lnTo>
                    <a:lnTo>
                      <a:pt x="659863" y="542290"/>
                    </a:lnTo>
                    <a:lnTo>
                      <a:pt x="653609" y="551180"/>
                    </a:lnTo>
                    <a:lnTo>
                      <a:pt x="644342" y="557530"/>
                    </a:lnTo>
                    <a:lnTo>
                      <a:pt x="633006" y="560070"/>
                    </a:lnTo>
                    <a:lnTo>
                      <a:pt x="693691" y="560070"/>
                    </a:lnTo>
                    <a:lnTo>
                      <a:pt x="695401" y="557530"/>
                    </a:lnTo>
                    <a:lnTo>
                      <a:pt x="700732" y="530860"/>
                    </a:lnTo>
                    <a:lnTo>
                      <a:pt x="700732" y="529590"/>
                    </a:lnTo>
                    <a:close/>
                  </a:path>
                  <a:path w="797559" h="598169">
                    <a:moveTo>
                      <a:pt x="424948" y="499110"/>
                    </a:moveTo>
                    <a:lnTo>
                      <a:pt x="393349" y="499110"/>
                    </a:lnTo>
                    <a:lnTo>
                      <a:pt x="468257" y="529590"/>
                    </a:lnTo>
                    <a:lnTo>
                      <a:pt x="743432" y="529590"/>
                    </a:lnTo>
                    <a:lnTo>
                      <a:pt x="746578" y="538480"/>
                    </a:lnTo>
                    <a:lnTo>
                      <a:pt x="752524" y="546100"/>
                    </a:lnTo>
                    <a:lnTo>
                      <a:pt x="760625" y="549910"/>
                    </a:lnTo>
                    <a:lnTo>
                      <a:pt x="770238" y="552450"/>
                    </a:lnTo>
                    <a:lnTo>
                      <a:pt x="780805" y="549910"/>
                    </a:lnTo>
                    <a:lnTo>
                      <a:pt x="789443" y="543560"/>
                    </a:lnTo>
                    <a:lnTo>
                      <a:pt x="792357" y="539750"/>
                    </a:lnTo>
                    <a:lnTo>
                      <a:pt x="761798" y="539750"/>
                    </a:lnTo>
                    <a:lnTo>
                      <a:pt x="754929" y="533400"/>
                    </a:lnTo>
                    <a:lnTo>
                      <a:pt x="754929" y="516890"/>
                    </a:lnTo>
                    <a:lnTo>
                      <a:pt x="470551" y="516890"/>
                    </a:lnTo>
                    <a:lnTo>
                      <a:pt x="424948" y="499110"/>
                    </a:lnTo>
                    <a:close/>
                  </a:path>
                  <a:path w="797559" h="598169">
                    <a:moveTo>
                      <a:pt x="791941" y="509270"/>
                    </a:moveTo>
                    <a:lnTo>
                      <a:pt x="778677" y="509270"/>
                    </a:lnTo>
                    <a:lnTo>
                      <a:pt x="785546" y="516890"/>
                    </a:lnTo>
                    <a:lnTo>
                      <a:pt x="785546" y="533400"/>
                    </a:lnTo>
                    <a:lnTo>
                      <a:pt x="778677" y="539750"/>
                    </a:lnTo>
                    <a:lnTo>
                      <a:pt x="792357" y="539750"/>
                    </a:lnTo>
                    <a:lnTo>
                      <a:pt x="795271" y="535940"/>
                    </a:lnTo>
                    <a:lnTo>
                      <a:pt x="797410" y="524510"/>
                    </a:lnTo>
                    <a:lnTo>
                      <a:pt x="795271" y="514350"/>
                    </a:lnTo>
                    <a:lnTo>
                      <a:pt x="791941" y="509270"/>
                    </a:lnTo>
                    <a:close/>
                  </a:path>
                  <a:path w="797559" h="598169">
                    <a:moveTo>
                      <a:pt x="27171" y="467360"/>
                    </a:moveTo>
                    <a:lnTo>
                      <a:pt x="16605" y="469900"/>
                    </a:lnTo>
                    <a:lnTo>
                      <a:pt x="7967" y="476250"/>
                    </a:lnTo>
                    <a:lnTo>
                      <a:pt x="2138" y="483870"/>
                    </a:lnTo>
                    <a:lnTo>
                      <a:pt x="0" y="495300"/>
                    </a:lnTo>
                    <a:lnTo>
                      <a:pt x="2138" y="505460"/>
                    </a:lnTo>
                    <a:lnTo>
                      <a:pt x="7967" y="514350"/>
                    </a:lnTo>
                    <a:lnTo>
                      <a:pt x="16605" y="519430"/>
                    </a:lnTo>
                    <a:lnTo>
                      <a:pt x="27171" y="521970"/>
                    </a:lnTo>
                    <a:lnTo>
                      <a:pt x="36619" y="520700"/>
                    </a:lnTo>
                    <a:lnTo>
                      <a:pt x="44625" y="515620"/>
                    </a:lnTo>
                    <a:lnTo>
                      <a:pt x="48595" y="510540"/>
                    </a:lnTo>
                    <a:lnTo>
                      <a:pt x="18732" y="510540"/>
                    </a:lnTo>
                    <a:lnTo>
                      <a:pt x="11863" y="502920"/>
                    </a:lnTo>
                    <a:lnTo>
                      <a:pt x="11863" y="486410"/>
                    </a:lnTo>
                    <a:lnTo>
                      <a:pt x="18732" y="480060"/>
                    </a:lnTo>
                    <a:lnTo>
                      <a:pt x="49792" y="480060"/>
                    </a:lnTo>
                    <a:lnTo>
                      <a:pt x="43862" y="473710"/>
                    </a:lnTo>
                    <a:lnTo>
                      <a:pt x="36150" y="468630"/>
                    </a:lnTo>
                    <a:lnTo>
                      <a:pt x="27171" y="467360"/>
                    </a:lnTo>
                    <a:close/>
                  </a:path>
                  <a:path w="797559" h="598169">
                    <a:moveTo>
                      <a:pt x="700732" y="429260"/>
                    </a:moveTo>
                    <a:lnTo>
                      <a:pt x="662157" y="429260"/>
                    </a:lnTo>
                    <a:lnTo>
                      <a:pt x="662157" y="516890"/>
                    </a:lnTo>
                    <a:lnTo>
                      <a:pt x="700732" y="516890"/>
                    </a:lnTo>
                    <a:lnTo>
                      <a:pt x="700732" y="429260"/>
                    </a:lnTo>
                    <a:close/>
                  </a:path>
                  <a:path w="797559" h="598169">
                    <a:moveTo>
                      <a:pt x="770238" y="497840"/>
                    </a:moveTo>
                    <a:lnTo>
                      <a:pt x="761427" y="499110"/>
                    </a:lnTo>
                    <a:lnTo>
                      <a:pt x="753822" y="502920"/>
                    </a:lnTo>
                    <a:lnTo>
                      <a:pt x="747909" y="509270"/>
                    </a:lnTo>
                    <a:lnTo>
                      <a:pt x="744176" y="516890"/>
                    </a:lnTo>
                    <a:lnTo>
                      <a:pt x="754929" y="516890"/>
                    </a:lnTo>
                    <a:lnTo>
                      <a:pt x="761798" y="509270"/>
                    </a:lnTo>
                    <a:lnTo>
                      <a:pt x="791941" y="509270"/>
                    </a:lnTo>
                    <a:lnTo>
                      <a:pt x="789443" y="505460"/>
                    </a:lnTo>
                    <a:lnTo>
                      <a:pt x="780805" y="500380"/>
                    </a:lnTo>
                    <a:lnTo>
                      <a:pt x="770238" y="497840"/>
                    </a:lnTo>
                    <a:close/>
                  </a:path>
                  <a:path w="797559" h="598169">
                    <a:moveTo>
                      <a:pt x="49792" y="480060"/>
                    </a:moveTo>
                    <a:lnTo>
                      <a:pt x="35611" y="480060"/>
                    </a:lnTo>
                    <a:lnTo>
                      <a:pt x="42469" y="486410"/>
                    </a:lnTo>
                    <a:lnTo>
                      <a:pt x="42469" y="502920"/>
                    </a:lnTo>
                    <a:lnTo>
                      <a:pt x="35611" y="510540"/>
                    </a:lnTo>
                    <a:lnTo>
                      <a:pt x="48595" y="510540"/>
                    </a:lnTo>
                    <a:lnTo>
                      <a:pt x="50579" y="508000"/>
                    </a:lnTo>
                    <a:lnTo>
                      <a:pt x="53872" y="500380"/>
                    </a:lnTo>
                    <a:lnTo>
                      <a:pt x="99400" y="499110"/>
                    </a:lnTo>
                    <a:lnTo>
                      <a:pt x="424948" y="499110"/>
                    </a:lnTo>
                    <a:lnTo>
                      <a:pt x="395631" y="487680"/>
                    </a:lnTo>
                    <a:lnTo>
                      <a:pt x="53422" y="487680"/>
                    </a:lnTo>
                    <a:lnTo>
                      <a:pt x="49792" y="480060"/>
                    </a:lnTo>
                    <a:close/>
                  </a:path>
                  <a:path w="797559" h="598169">
                    <a:moveTo>
                      <a:pt x="137974" y="400050"/>
                    </a:moveTo>
                    <a:lnTo>
                      <a:pt x="99400" y="400050"/>
                    </a:lnTo>
                    <a:lnTo>
                      <a:pt x="99400" y="487680"/>
                    </a:lnTo>
                    <a:lnTo>
                      <a:pt x="137974" y="487680"/>
                    </a:lnTo>
                    <a:lnTo>
                      <a:pt x="137974" y="400050"/>
                    </a:lnTo>
                    <a:close/>
                  </a:path>
                  <a:path w="797559" h="598169">
                    <a:moveTo>
                      <a:pt x="424948" y="398780"/>
                    </a:moveTo>
                    <a:lnTo>
                      <a:pt x="393349" y="398780"/>
                    </a:lnTo>
                    <a:lnTo>
                      <a:pt x="468257" y="429260"/>
                    </a:lnTo>
                    <a:lnTo>
                      <a:pt x="743432" y="429260"/>
                    </a:lnTo>
                    <a:lnTo>
                      <a:pt x="746578" y="438150"/>
                    </a:lnTo>
                    <a:lnTo>
                      <a:pt x="752524" y="445770"/>
                    </a:lnTo>
                    <a:lnTo>
                      <a:pt x="760625" y="450850"/>
                    </a:lnTo>
                    <a:lnTo>
                      <a:pt x="770238" y="452120"/>
                    </a:lnTo>
                    <a:lnTo>
                      <a:pt x="780805" y="449580"/>
                    </a:lnTo>
                    <a:lnTo>
                      <a:pt x="789443" y="444500"/>
                    </a:lnTo>
                    <a:lnTo>
                      <a:pt x="791941" y="440690"/>
                    </a:lnTo>
                    <a:lnTo>
                      <a:pt x="761798" y="440690"/>
                    </a:lnTo>
                    <a:lnTo>
                      <a:pt x="754929" y="433070"/>
                    </a:lnTo>
                    <a:lnTo>
                      <a:pt x="754929" y="416560"/>
                    </a:lnTo>
                    <a:lnTo>
                      <a:pt x="470551" y="416560"/>
                    </a:lnTo>
                    <a:lnTo>
                      <a:pt x="424948" y="398780"/>
                    </a:lnTo>
                    <a:close/>
                  </a:path>
                  <a:path w="797559" h="598169">
                    <a:moveTo>
                      <a:pt x="791941" y="408940"/>
                    </a:moveTo>
                    <a:lnTo>
                      <a:pt x="778677" y="408940"/>
                    </a:lnTo>
                    <a:lnTo>
                      <a:pt x="785546" y="416560"/>
                    </a:lnTo>
                    <a:lnTo>
                      <a:pt x="785546" y="433070"/>
                    </a:lnTo>
                    <a:lnTo>
                      <a:pt x="778677" y="440690"/>
                    </a:lnTo>
                    <a:lnTo>
                      <a:pt x="791941" y="440690"/>
                    </a:lnTo>
                    <a:lnTo>
                      <a:pt x="795271" y="435610"/>
                    </a:lnTo>
                    <a:lnTo>
                      <a:pt x="797410" y="424180"/>
                    </a:lnTo>
                    <a:lnTo>
                      <a:pt x="795271" y="414020"/>
                    </a:lnTo>
                    <a:lnTo>
                      <a:pt x="791941" y="408940"/>
                    </a:lnTo>
                    <a:close/>
                  </a:path>
                  <a:path w="797559" h="598169">
                    <a:moveTo>
                      <a:pt x="27171" y="367030"/>
                    </a:moveTo>
                    <a:lnTo>
                      <a:pt x="16605" y="369570"/>
                    </a:lnTo>
                    <a:lnTo>
                      <a:pt x="7967" y="375920"/>
                    </a:lnTo>
                    <a:lnTo>
                      <a:pt x="2138" y="383540"/>
                    </a:lnTo>
                    <a:lnTo>
                      <a:pt x="0" y="394970"/>
                    </a:lnTo>
                    <a:lnTo>
                      <a:pt x="2138" y="405130"/>
                    </a:lnTo>
                    <a:lnTo>
                      <a:pt x="7967" y="414020"/>
                    </a:lnTo>
                    <a:lnTo>
                      <a:pt x="16605" y="419100"/>
                    </a:lnTo>
                    <a:lnTo>
                      <a:pt x="27171" y="421640"/>
                    </a:lnTo>
                    <a:lnTo>
                      <a:pt x="36619" y="420370"/>
                    </a:lnTo>
                    <a:lnTo>
                      <a:pt x="44625" y="415290"/>
                    </a:lnTo>
                    <a:lnTo>
                      <a:pt x="49388" y="410210"/>
                    </a:lnTo>
                    <a:lnTo>
                      <a:pt x="18732" y="410210"/>
                    </a:lnTo>
                    <a:lnTo>
                      <a:pt x="11863" y="402590"/>
                    </a:lnTo>
                    <a:lnTo>
                      <a:pt x="11863" y="386080"/>
                    </a:lnTo>
                    <a:lnTo>
                      <a:pt x="18732" y="379730"/>
                    </a:lnTo>
                    <a:lnTo>
                      <a:pt x="49792" y="379730"/>
                    </a:lnTo>
                    <a:lnTo>
                      <a:pt x="43862" y="373380"/>
                    </a:lnTo>
                    <a:lnTo>
                      <a:pt x="36150" y="369570"/>
                    </a:lnTo>
                    <a:lnTo>
                      <a:pt x="27171" y="367030"/>
                    </a:lnTo>
                    <a:close/>
                  </a:path>
                  <a:path w="797559" h="598169">
                    <a:moveTo>
                      <a:pt x="700732" y="330200"/>
                    </a:moveTo>
                    <a:lnTo>
                      <a:pt x="662157" y="330200"/>
                    </a:lnTo>
                    <a:lnTo>
                      <a:pt x="662157" y="416560"/>
                    </a:lnTo>
                    <a:lnTo>
                      <a:pt x="700732" y="416560"/>
                    </a:lnTo>
                    <a:lnTo>
                      <a:pt x="700732" y="330200"/>
                    </a:lnTo>
                    <a:close/>
                  </a:path>
                  <a:path w="797559" h="598169">
                    <a:moveTo>
                      <a:pt x="770238" y="397510"/>
                    </a:moveTo>
                    <a:lnTo>
                      <a:pt x="761427" y="398780"/>
                    </a:lnTo>
                    <a:lnTo>
                      <a:pt x="753822" y="402590"/>
                    </a:lnTo>
                    <a:lnTo>
                      <a:pt x="747909" y="408940"/>
                    </a:lnTo>
                    <a:lnTo>
                      <a:pt x="744176" y="416560"/>
                    </a:lnTo>
                    <a:lnTo>
                      <a:pt x="754929" y="416560"/>
                    </a:lnTo>
                    <a:lnTo>
                      <a:pt x="761798" y="408940"/>
                    </a:lnTo>
                    <a:lnTo>
                      <a:pt x="791941" y="408940"/>
                    </a:lnTo>
                    <a:lnTo>
                      <a:pt x="789443" y="405130"/>
                    </a:lnTo>
                    <a:lnTo>
                      <a:pt x="780805" y="400050"/>
                    </a:lnTo>
                    <a:lnTo>
                      <a:pt x="770238" y="397510"/>
                    </a:lnTo>
                    <a:close/>
                  </a:path>
                  <a:path w="797559" h="598169">
                    <a:moveTo>
                      <a:pt x="49792" y="379730"/>
                    </a:moveTo>
                    <a:lnTo>
                      <a:pt x="35611" y="379730"/>
                    </a:lnTo>
                    <a:lnTo>
                      <a:pt x="42469" y="386080"/>
                    </a:lnTo>
                    <a:lnTo>
                      <a:pt x="42469" y="402590"/>
                    </a:lnTo>
                    <a:lnTo>
                      <a:pt x="35611" y="410210"/>
                    </a:lnTo>
                    <a:lnTo>
                      <a:pt x="49388" y="410210"/>
                    </a:lnTo>
                    <a:lnTo>
                      <a:pt x="50579" y="408940"/>
                    </a:lnTo>
                    <a:lnTo>
                      <a:pt x="53872" y="400050"/>
                    </a:lnTo>
                    <a:lnTo>
                      <a:pt x="137974" y="400050"/>
                    </a:lnTo>
                    <a:lnTo>
                      <a:pt x="424948" y="398780"/>
                    </a:lnTo>
                    <a:lnTo>
                      <a:pt x="395631" y="387350"/>
                    </a:lnTo>
                    <a:lnTo>
                      <a:pt x="53422" y="387350"/>
                    </a:lnTo>
                    <a:lnTo>
                      <a:pt x="49792" y="379730"/>
                    </a:lnTo>
                    <a:close/>
                  </a:path>
                  <a:path w="797559" h="598169">
                    <a:moveTo>
                      <a:pt x="137974" y="300990"/>
                    </a:moveTo>
                    <a:lnTo>
                      <a:pt x="99400" y="300990"/>
                    </a:lnTo>
                    <a:lnTo>
                      <a:pt x="99400" y="387350"/>
                    </a:lnTo>
                    <a:lnTo>
                      <a:pt x="137974" y="387350"/>
                    </a:lnTo>
                    <a:lnTo>
                      <a:pt x="137974" y="300990"/>
                    </a:lnTo>
                    <a:close/>
                  </a:path>
                  <a:path w="797559" h="598169">
                    <a:moveTo>
                      <a:pt x="425540" y="300990"/>
                    </a:moveTo>
                    <a:lnTo>
                      <a:pt x="393349" y="300990"/>
                    </a:lnTo>
                    <a:lnTo>
                      <a:pt x="468257" y="330200"/>
                    </a:lnTo>
                    <a:lnTo>
                      <a:pt x="743432" y="330200"/>
                    </a:lnTo>
                    <a:lnTo>
                      <a:pt x="746578" y="339090"/>
                    </a:lnTo>
                    <a:lnTo>
                      <a:pt x="752524" y="346710"/>
                    </a:lnTo>
                    <a:lnTo>
                      <a:pt x="760625" y="351790"/>
                    </a:lnTo>
                    <a:lnTo>
                      <a:pt x="770238" y="353060"/>
                    </a:lnTo>
                    <a:lnTo>
                      <a:pt x="780805" y="351790"/>
                    </a:lnTo>
                    <a:lnTo>
                      <a:pt x="789443" y="345440"/>
                    </a:lnTo>
                    <a:lnTo>
                      <a:pt x="791941" y="341630"/>
                    </a:lnTo>
                    <a:lnTo>
                      <a:pt x="761798" y="341630"/>
                    </a:lnTo>
                    <a:lnTo>
                      <a:pt x="754929" y="335280"/>
                    </a:lnTo>
                    <a:lnTo>
                      <a:pt x="754929" y="318770"/>
                    </a:lnTo>
                    <a:lnTo>
                      <a:pt x="470551" y="318770"/>
                    </a:lnTo>
                    <a:lnTo>
                      <a:pt x="425540" y="300990"/>
                    </a:lnTo>
                    <a:close/>
                  </a:path>
                  <a:path w="797559" h="598169">
                    <a:moveTo>
                      <a:pt x="791941" y="311150"/>
                    </a:moveTo>
                    <a:lnTo>
                      <a:pt x="778677" y="311150"/>
                    </a:lnTo>
                    <a:lnTo>
                      <a:pt x="785546" y="317500"/>
                    </a:lnTo>
                    <a:lnTo>
                      <a:pt x="785546" y="335280"/>
                    </a:lnTo>
                    <a:lnTo>
                      <a:pt x="778677" y="341630"/>
                    </a:lnTo>
                    <a:lnTo>
                      <a:pt x="791941" y="341630"/>
                    </a:lnTo>
                    <a:lnTo>
                      <a:pt x="795271" y="336550"/>
                    </a:lnTo>
                    <a:lnTo>
                      <a:pt x="797410" y="326390"/>
                    </a:lnTo>
                    <a:lnTo>
                      <a:pt x="795271" y="316230"/>
                    </a:lnTo>
                    <a:lnTo>
                      <a:pt x="791941" y="311150"/>
                    </a:lnTo>
                    <a:close/>
                  </a:path>
                  <a:path w="797559" h="598169">
                    <a:moveTo>
                      <a:pt x="27171" y="269240"/>
                    </a:moveTo>
                    <a:lnTo>
                      <a:pt x="16605" y="270510"/>
                    </a:lnTo>
                    <a:lnTo>
                      <a:pt x="7967" y="276860"/>
                    </a:lnTo>
                    <a:lnTo>
                      <a:pt x="2138" y="285750"/>
                    </a:lnTo>
                    <a:lnTo>
                      <a:pt x="0" y="295910"/>
                    </a:lnTo>
                    <a:lnTo>
                      <a:pt x="2138" y="306070"/>
                    </a:lnTo>
                    <a:lnTo>
                      <a:pt x="7967" y="314960"/>
                    </a:lnTo>
                    <a:lnTo>
                      <a:pt x="16605" y="321310"/>
                    </a:lnTo>
                    <a:lnTo>
                      <a:pt x="27171" y="323850"/>
                    </a:lnTo>
                    <a:lnTo>
                      <a:pt x="36619" y="321310"/>
                    </a:lnTo>
                    <a:lnTo>
                      <a:pt x="44625" y="317500"/>
                    </a:lnTo>
                    <a:lnTo>
                      <a:pt x="49587" y="311150"/>
                    </a:lnTo>
                    <a:lnTo>
                      <a:pt x="18732" y="311150"/>
                    </a:lnTo>
                    <a:lnTo>
                      <a:pt x="11863" y="304800"/>
                    </a:lnTo>
                    <a:lnTo>
                      <a:pt x="11863" y="288290"/>
                    </a:lnTo>
                    <a:lnTo>
                      <a:pt x="18732" y="280670"/>
                    </a:lnTo>
                    <a:lnTo>
                      <a:pt x="49792" y="280670"/>
                    </a:lnTo>
                    <a:lnTo>
                      <a:pt x="43862" y="274320"/>
                    </a:lnTo>
                    <a:lnTo>
                      <a:pt x="36150" y="270510"/>
                    </a:lnTo>
                    <a:lnTo>
                      <a:pt x="27171" y="269240"/>
                    </a:lnTo>
                    <a:close/>
                  </a:path>
                  <a:path w="797559" h="598169">
                    <a:moveTo>
                      <a:pt x="700732" y="231140"/>
                    </a:moveTo>
                    <a:lnTo>
                      <a:pt x="662157" y="231140"/>
                    </a:lnTo>
                    <a:lnTo>
                      <a:pt x="662157" y="318770"/>
                    </a:lnTo>
                    <a:lnTo>
                      <a:pt x="700732" y="318770"/>
                    </a:lnTo>
                    <a:lnTo>
                      <a:pt x="700732" y="231140"/>
                    </a:lnTo>
                    <a:close/>
                  </a:path>
                  <a:path w="797559" h="598169">
                    <a:moveTo>
                      <a:pt x="770238" y="298450"/>
                    </a:moveTo>
                    <a:lnTo>
                      <a:pt x="761427" y="300990"/>
                    </a:lnTo>
                    <a:lnTo>
                      <a:pt x="753822" y="304800"/>
                    </a:lnTo>
                    <a:lnTo>
                      <a:pt x="747909" y="311150"/>
                    </a:lnTo>
                    <a:lnTo>
                      <a:pt x="744176" y="318770"/>
                    </a:lnTo>
                    <a:lnTo>
                      <a:pt x="754929" y="318770"/>
                    </a:lnTo>
                    <a:lnTo>
                      <a:pt x="754929" y="317500"/>
                    </a:lnTo>
                    <a:lnTo>
                      <a:pt x="761798" y="311150"/>
                    </a:lnTo>
                    <a:lnTo>
                      <a:pt x="791941" y="311150"/>
                    </a:lnTo>
                    <a:lnTo>
                      <a:pt x="789443" y="307340"/>
                    </a:lnTo>
                    <a:lnTo>
                      <a:pt x="780805" y="300990"/>
                    </a:lnTo>
                    <a:lnTo>
                      <a:pt x="770238" y="298450"/>
                    </a:lnTo>
                    <a:close/>
                  </a:path>
                  <a:path w="797559" h="598169">
                    <a:moveTo>
                      <a:pt x="49792" y="280670"/>
                    </a:moveTo>
                    <a:lnTo>
                      <a:pt x="35611" y="280670"/>
                    </a:lnTo>
                    <a:lnTo>
                      <a:pt x="42469" y="288290"/>
                    </a:lnTo>
                    <a:lnTo>
                      <a:pt x="42469" y="304800"/>
                    </a:lnTo>
                    <a:lnTo>
                      <a:pt x="35611" y="311150"/>
                    </a:lnTo>
                    <a:lnTo>
                      <a:pt x="49587" y="311150"/>
                    </a:lnTo>
                    <a:lnTo>
                      <a:pt x="50579" y="309880"/>
                    </a:lnTo>
                    <a:lnTo>
                      <a:pt x="53872" y="300990"/>
                    </a:lnTo>
                    <a:lnTo>
                      <a:pt x="425540" y="300990"/>
                    </a:lnTo>
                    <a:lnTo>
                      <a:pt x="399820" y="290830"/>
                    </a:lnTo>
                    <a:lnTo>
                      <a:pt x="399820" y="289560"/>
                    </a:lnTo>
                    <a:lnTo>
                      <a:pt x="53422" y="289560"/>
                    </a:lnTo>
                    <a:lnTo>
                      <a:pt x="49792" y="280670"/>
                    </a:lnTo>
                    <a:close/>
                  </a:path>
                  <a:path w="797559" h="598169">
                    <a:moveTo>
                      <a:pt x="137974" y="200660"/>
                    </a:moveTo>
                    <a:lnTo>
                      <a:pt x="99400" y="200660"/>
                    </a:lnTo>
                    <a:lnTo>
                      <a:pt x="99400" y="289560"/>
                    </a:lnTo>
                    <a:lnTo>
                      <a:pt x="399820" y="289560"/>
                    </a:lnTo>
                    <a:lnTo>
                      <a:pt x="399820" y="285750"/>
                    </a:lnTo>
                    <a:lnTo>
                      <a:pt x="137974" y="285750"/>
                    </a:lnTo>
                    <a:lnTo>
                      <a:pt x="137974" y="200660"/>
                    </a:lnTo>
                    <a:close/>
                  </a:path>
                  <a:path w="797559" h="598169">
                    <a:moveTo>
                      <a:pt x="399820" y="38100"/>
                    </a:moveTo>
                    <a:lnTo>
                      <a:pt x="387956" y="38100"/>
                    </a:lnTo>
                    <a:lnTo>
                      <a:pt x="387956" y="285750"/>
                    </a:lnTo>
                    <a:lnTo>
                      <a:pt x="399820" y="285750"/>
                    </a:lnTo>
                    <a:lnTo>
                      <a:pt x="399820" y="203200"/>
                    </a:lnTo>
                    <a:lnTo>
                      <a:pt x="431970" y="203200"/>
                    </a:lnTo>
                    <a:lnTo>
                      <a:pt x="399820" y="190500"/>
                    </a:lnTo>
                    <a:lnTo>
                      <a:pt x="399820" y="102870"/>
                    </a:lnTo>
                    <a:lnTo>
                      <a:pt x="431970" y="102870"/>
                    </a:lnTo>
                    <a:lnTo>
                      <a:pt x="399820" y="90170"/>
                    </a:lnTo>
                    <a:lnTo>
                      <a:pt x="399820" y="38100"/>
                    </a:lnTo>
                    <a:close/>
                  </a:path>
                  <a:path w="797559" h="598169">
                    <a:moveTo>
                      <a:pt x="431970" y="203200"/>
                    </a:moveTo>
                    <a:lnTo>
                      <a:pt x="399820" y="203200"/>
                    </a:lnTo>
                    <a:lnTo>
                      <a:pt x="468257" y="231140"/>
                    </a:lnTo>
                    <a:lnTo>
                      <a:pt x="743432" y="231140"/>
                    </a:lnTo>
                    <a:lnTo>
                      <a:pt x="746578" y="240030"/>
                    </a:lnTo>
                    <a:lnTo>
                      <a:pt x="752524" y="247650"/>
                    </a:lnTo>
                    <a:lnTo>
                      <a:pt x="760625" y="251460"/>
                    </a:lnTo>
                    <a:lnTo>
                      <a:pt x="770238" y="254000"/>
                    </a:lnTo>
                    <a:lnTo>
                      <a:pt x="780805" y="251460"/>
                    </a:lnTo>
                    <a:lnTo>
                      <a:pt x="789443" y="246380"/>
                    </a:lnTo>
                    <a:lnTo>
                      <a:pt x="792773" y="241300"/>
                    </a:lnTo>
                    <a:lnTo>
                      <a:pt x="761798" y="241300"/>
                    </a:lnTo>
                    <a:lnTo>
                      <a:pt x="754929" y="234950"/>
                    </a:lnTo>
                    <a:lnTo>
                      <a:pt x="754929" y="218440"/>
                    </a:lnTo>
                    <a:lnTo>
                      <a:pt x="470551" y="218440"/>
                    </a:lnTo>
                    <a:lnTo>
                      <a:pt x="431970" y="203200"/>
                    </a:lnTo>
                    <a:close/>
                  </a:path>
                  <a:path w="797559" h="598169">
                    <a:moveTo>
                      <a:pt x="791941" y="210820"/>
                    </a:moveTo>
                    <a:lnTo>
                      <a:pt x="778677" y="210820"/>
                    </a:lnTo>
                    <a:lnTo>
                      <a:pt x="785546" y="218440"/>
                    </a:lnTo>
                    <a:lnTo>
                      <a:pt x="785546" y="234950"/>
                    </a:lnTo>
                    <a:lnTo>
                      <a:pt x="778677" y="241300"/>
                    </a:lnTo>
                    <a:lnTo>
                      <a:pt x="792773" y="241300"/>
                    </a:lnTo>
                    <a:lnTo>
                      <a:pt x="795271" y="237490"/>
                    </a:lnTo>
                    <a:lnTo>
                      <a:pt x="797410" y="226060"/>
                    </a:lnTo>
                    <a:lnTo>
                      <a:pt x="795271" y="215900"/>
                    </a:lnTo>
                    <a:lnTo>
                      <a:pt x="791941" y="210820"/>
                    </a:lnTo>
                    <a:close/>
                  </a:path>
                  <a:path w="797559" h="598169">
                    <a:moveTo>
                      <a:pt x="27171" y="168910"/>
                    </a:moveTo>
                    <a:lnTo>
                      <a:pt x="16605" y="171450"/>
                    </a:lnTo>
                    <a:lnTo>
                      <a:pt x="7967" y="177800"/>
                    </a:lnTo>
                    <a:lnTo>
                      <a:pt x="2138" y="185420"/>
                    </a:lnTo>
                    <a:lnTo>
                      <a:pt x="0" y="196850"/>
                    </a:lnTo>
                    <a:lnTo>
                      <a:pt x="2138" y="207010"/>
                    </a:lnTo>
                    <a:lnTo>
                      <a:pt x="7967" y="215900"/>
                    </a:lnTo>
                    <a:lnTo>
                      <a:pt x="16605" y="220980"/>
                    </a:lnTo>
                    <a:lnTo>
                      <a:pt x="27171" y="223520"/>
                    </a:lnTo>
                    <a:lnTo>
                      <a:pt x="36621" y="222250"/>
                    </a:lnTo>
                    <a:lnTo>
                      <a:pt x="44629" y="217170"/>
                    </a:lnTo>
                    <a:lnTo>
                      <a:pt x="49393" y="212090"/>
                    </a:lnTo>
                    <a:lnTo>
                      <a:pt x="18732" y="212090"/>
                    </a:lnTo>
                    <a:lnTo>
                      <a:pt x="11863" y="204470"/>
                    </a:lnTo>
                    <a:lnTo>
                      <a:pt x="11863" y="187960"/>
                    </a:lnTo>
                    <a:lnTo>
                      <a:pt x="18732" y="181610"/>
                    </a:lnTo>
                    <a:lnTo>
                      <a:pt x="49792" y="181610"/>
                    </a:lnTo>
                    <a:lnTo>
                      <a:pt x="43862" y="175260"/>
                    </a:lnTo>
                    <a:lnTo>
                      <a:pt x="36150" y="171450"/>
                    </a:lnTo>
                    <a:lnTo>
                      <a:pt x="27171" y="168910"/>
                    </a:lnTo>
                    <a:close/>
                  </a:path>
                  <a:path w="797559" h="598169">
                    <a:moveTo>
                      <a:pt x="700732" y="129540"/>
                    </a:moveTo>
                    <a:lnTo>
                      <a:pt x="662157" y="129540"/>
                    </a:lnTo>
                    <a:lnTo>
                      <a:pt x="662157" y="218440"/>
                    </a:lnTo>
                    <a:lnTo>
                      <a:pt x="700732" y="218440"/>
                    </a:lnTo>
                    <a:lnTo>
                      <a:pt x="700732" y="129540"/>
                    </a:lnTo>
                    <a:close/>
                  </a:path>
                  <a:path w="797559" h="598169">
                    <a:moveTo>
                      <a:pt x="770238" y="199390"/>
                    </a:moveTo>
                    <a:lnTo>
                      <a:pt x="761427" y="200660"/>
                    </a:lnTo>
                    <a:lnTo>
                      <a:pt x="753822" y="204470"/>
                    </a:lnTo>
                    <a:lnTo>
                      <a:pt x="747909" y="210820"/>
                    </a:lnTo>
                    <a:lnTo>
                      <a:pt x="744176" y="218440"/>
                    </a:lnTo>
                    <a:lnTo>
                      <a:pt x="754929" y="218440"/>
                    </a:lnTo>
                    <a:lnTo>
                      <a:pt x="761798" y="210820"/>
                    </a:lnTo>
                    <a:lnTo>
                      <a:pt x="791941" y="210820"/>
                    </a:lnTo>
                    <a:lnTo>
                      <a:pt x="789443" y="207010"/>
                    </a:lnTo>
                    <a:lnTo>
                      <a:pt x="780805" y="201930"/>
                    </a:lnTo>
                    <a:lnTo>
                      <a:pt x="770238" y="199390"/>
                    </a:lnTo>
                    <a:close/>
                  </a:path>
                  <a:path w="797559" h="598169">
                    <a:moveTo>
                      <a:pt x="49792" y="181610"/>
                    </a:moveTo>
                    <a:lnTo>
                      <a:pt x="35611" y="181610"/>
                    </a:lnTo>
                    <a:lnTo>
                      <a:pt x="42469" y="187960"/>
                    </a:lnTo>
                    <a:lnTo>
                      <a:pt x="42469" y="204470"/>
                    </a:lnTo>
                    <a:lnTo>
                      <a:pt x="35611" y="212090"/>
                    </a:lnTo>
                    <a:lnTo>
                      <a:pt x="49393" y="212090"/>
                    </a:lnTo>
                    <a:lnTo>
                      <a:pt x="50584" y="210820"/>
                    </a:lnTo>
                    <a:lnTo>
                      <a:pt x="53872" y="201930"/>
                    </a:lnTo>
                    <a:lnTo>
                      <a:pt x="99400" y="200660"/>
                    </a:lnTo>
                    <a:lnTo>
                      <a:pt x="137974" y="200660"/>
                    </a:lnTo>
                    <a:lnTo>
                      <a:pt x="137974" y="189230"/>
                    </a:lnTo>
                    <a:lnTo>
                      <a:pt x="53422" y="189230"/>
                    </a:lnTo>
                    <a:lnTo>
                      <a:pt x="49792" y="181610"/>
                    </a:lnTo>
                    <a:close/>
                  </a:path>
                  <a:path w="797559" h="598169">
                    <a:moveTo>
                      <a:pt x="137974" y="100330"/>
                    </a:moveTo>
                    <a:lnTo>
                      <a:pt x="99400" y="100330"/>
                    </a:lnTo>
                    <a:lnTo>
                      <a:pt x="99400" y="189230"/>
                    </a:lnTo>
                    <a:lnTo>
                      <a:pt x="137974" y="189230"/>
                    </a:lnTo>
                    <a:lnTo>
                      <a:pt x="137974" y="100330"/>
                    </a:lnTo>
                    <a:close/>
                  </a:path>
                  <a:path w="797559" h="598169">
                    <a:moveTo>
                      <a:pt x="431970" y="102870"/>
                    </a:moveTo>
                    <a:lnTo>
                      <a:pt x="399820" y="102870"/>
                    </a:lnTo>
                    <a:lnTo>
                      <a:pt x="468257" y="129540"/>
                    </a:lnTo>
                    <a:lnTo>
                      <a:pt x="743432" y="129540"/>
                    </a:lnTo>
                    <a:lnTo>
                      <a:pt x="746578" y="138430"/>
                    </a:lnTo>
                    <a:lnTo>
                      <a:pt x="752524" y="146050"/>
                    </a:lnTo>
                    <a:lnTo>
                      <a:pt x="760625" y="151130"/>
                    </a:lnTo>
                    <a:lnTo>
                      <a:pt x="770238" y="152400"/>
                    </a:lnTo>
                    <a:lnTo>
                      <a:pt x="780805" y="151130"/>
                    </a:lnTo>
                    <a:lnTo>
                      <a:pt x="789443" y="144780"/>
                    </a:lnTo>
                    <a:lnTo>
                      <a:pt x="791941" y="140970"/>
                    </a:lnTo>
                    <a:lnTo>
                      <a:pt x="761798" y="140970"/>
                    </a:lnTo>
                    <a:lnTo>
                      <a:pt x="754929" y="134620"/>
                    </a:lnTo>
                    <a:lnTo>
                      <a:pt x="754929" y="118110"/>
                    </a:lnTo>
                    <a:lnTo>
                      <a:pt x="470551" y="118110"/>
                    </a:lnTo>
                    <a:lnTo>
                      <a:pt x="431970" y="102870"/>
                    </a:lnTo>
                    <a:close/>
                  </a:path>
                  <a:path w="797559" h="598169">
                    <a:moveTo>
                      <a:pt x="791941" y="110490"/>
                    </a:moveTo>
                    <a:lnTo>
                      <a:pt x="778677" y="110490"/>
                    </a:lnTo>
                    <a:lnTo>
                      <a:pt x="785546" y="116840"/>
                    </a:lnTo>
                    <a:lnTo>
                      <a:pt x="785546" y="134620"/>
                    </a:lnTo>
                    <a:lnTo>
                      <a:pt x="778677" y="140970"/>
                    </a:lnTo>
                    <a:lnTo>
                      <a:pt x="791941" y="140970"/>
                    </a:lnTo>
                    <a:lnTo>
                      <a:pt x="795271" y="135890"/>
                    </a:lnTo>
                    <a:lnTo>
                      <a:pt x="797410" y="125730"/>
                    </a:lnTo>
                    <a:lnTo>
                      <a:pt x="795271" y="115570"/>
                    </a:lnTo>
                    <a:lnTo>
                      <a:pt x="791941" y="110490"/>
                    </a:lnTo>
                    <a:close/>
                  </a:path>
                  <a:path w="797559" h="598169">
                    <a:moveTo>
                      <a:pt x="27171" y="68580"/>
                    </a:moveTo>
                    <a:lnTo>
                      <a:pt x="16605" y="69850"/>
                    </a:lnTo>
                    <a:lnTo>
                      <a:pt x="7967" y="76200"/>
                    </a:lnTo>
                    <a:lnTo>
                      <a:pt x="2138" y="85090"/>
                    </a:lnTo>
                    <a:lnTo>
                      <a:pt x="0" y="95250"/>
                    </a:lnTo>
                    <a:lnTo>
                      <a:pt x="2138" y="105410"/>
                    </a:lnTo>
                    <a:lnTo>
                      <a:pt x="7967" y="114300"/>
                    </a:lnTo>
                    <a:lnTo>
                      <a:pt x="16605" y="120650"/>
                    </a:lnTo>
                    <a:lnTo>
                      <a:pt x="27171" y="123190"/>
                    </a:lnTo>
                    <a:lnTo>
                      <a:pt x="36621" y="120650"/>
                    </a:lnTo>
                    <a:lnTo>
                      <a:pt x="44629" y="116840"/>
                    </a:lnTo>
                    <a:lnTo>
                      <a:pt x="49591" y="110490"/>
                    </a:lnTo>
                    <a:lnTo>
                      <a:pt x="18732" y="110490"/>
                    </a:lnTo>
                    <a:lnTo>
                      <a:pt x="11863" y="104140"/>
                    </a:lnTo>
                    <a:lnTo>
                      <a:pt x="11863" y="87630"/>
                    </a:lnTo>
                    <a:lnTo>
                      <a:pt x="18732" y="80010"/>
                    </a:lnTo>
                    <a:lnTo>
                      <a:pt x="49792" y="80010"/>
                    </a:lnTo>
                    <a:lnTo>
                      <a:pt x="43862" y="73660"/>
                    </a:lnTo>
                    <a:lnTo>
                      <a:pt x="36150" y="69850"/>
                    </a:lnTo>
                    <a:lnTo>
                      <a:pt x="27171" y="68580"/>
                    </a:lnTo>
                    <a:close/>
                  </a:path>
                  <a:path w="797559" h="598169">
                    <a:moveTo>
                      <a:pt x="692837" y="38100"/>
                    </a:moveTo>
                    <a:lnTo>
                      <a:pt x="633006" y="38100"/>
                    </a:lnTo>
                    <a:lnTo>
                      <a:pt x="644342" y="40640"/>
                    </a:lnTo>
                    <a:lnTo>
                      <a:pt x="653609" y="46990"/>
                    </a:lnTo>
                    <a:lnTo>
                      <a:pt x="659863" y="55880"/>
                    </a:lnTo>
                    <a:lnTo>
                      <a:pt x="662157" y="67310"/>
                    </a:lnTo>
                    <a:lnTo>
                      <a:pt x="662157" y="118110"/>
                    </a:lnTo>
                    <a:lnTo>
                      <a:pt x="700732" y="118110"/>
                    </a:lnTo>
                    <a:lnTo>
                      <a:pt x="700732" y="67310"/>
                    </a:lnTo>
                    <a:lnTo>
                      <a:pt x="695401" y="41910"/>
                    </a:lnTo>
                    <a:lnTo>
                      <a:pt x="692837" y="38100"/>
                    </a:lnTo>
                    <a:close/>
                  </a:path>
                  <a:path w="797559" h="598169">
                    <a:moveTo>
                      <a:pt x="770238" y="97790"/>
                    </a:moveTo>
                    <a:lnTo>
                      <a:pt x="761427" y="100330"/>
                    </a:lnTo>
                    <a:lnTo>
                      <a:pt x="753822" y="104140"/>
                    </a:lnTo>
                    <a:lnTo>
                      <a:pt x="747909" y="110490"/>
                    </a:lnTo>
                    <a:lnTo>
                      <a:pt x="744176" y="118110"/>
                    </a:lnTo>
                    <a:lnTo>
                      <a:pt x="754929" y="118110"/>
                    </a:lnTo>
                    <a:lnTo>
                      <a:pt x="754929" y="116840"/>
                    </a:lnTo>
                    <a:lnTo>
                      <a:pt x="761798" y="110490"/>
                    </a:lnTo>
                    <a:lnTo>
                      <a:pt x="791941" y="110490"/>
                    </a:lnTo>
                    <a:lnTo>
                      <a:pt x="789443" y="106680"/>
                    </a:lnTo>
                    <a:lnTo>
                      <a:pt x="780805" y="100330"/>
                    </a:lnTo>
                    <a:lnTo>
                      <a:pt x="770238" y="97790"/>
                    </a:lnTo>
                    <a:close/>
                  </a:path>
                  <a:path w="797559" h="598169">
                    <a:moveTo>
                      <a:pt x="49792" y="80010"/>
                    </a:moveTo>
                    <a:lnTo>
                      <a:pt x="35611" y="80010"/>
                    </a:lnTo>
                    <a:lnTo>
                      <a:pt x="42469" y="87630"/>
                    </a:lnTo>
                    <a:lnTo>
                      <a:pt x="42469" y="104140"/>
                    </a:lnTo>
                    <a:lnTo>
                      <a:pt x="35611" y="110490"/>
                    </a:lnTo>
                    <a:lnTo>
                      <a:pt x="49591" y="110490"/>
                    </a:lnTo>
                    <a:lnTo>
                      <a:pt x="50584" y="109220"/>
                    </a:lnTo>
                    <a:lnTo>
                      <a:pt x="53872" y="100330"/>
                    </a:lnTo>
                    <a:lnTo>
                      <a:pt x="137974" y="100330"/>
                    </a:lnTo>
                    <a:lnTo>
                      <a:pt x="137974" y="88900"/>
                    </a:lnTo>
                    <a:lnTo>
                      <a:pt x="53422" y="88900"/>
                    </a:lnTo>
                    <a:lnTo>
                      <a:pt x="49792" y="80010"/>
                    </a:lnTo>
                    <a:close/>
                  </a:path>
                  <a:path w="797559" h="598169">
                    <a:moveTo>
                      <a:pt x="633006" y="0"/>
                    </a:moveTo>
                    <a:lnTo>
                      <a:pt x="167125" y="0"/>
                    </a:lnTo>
                    <a:lnTo>
                      <a:pt x="140791" y="5080"/>
                    </a:lnTo>
                    <a:lnTo>
                      <a:pt x="119260" y="20320"/>
                    </a:lnTo>
                    <a:lnTo>
                      <a:pt x="104731" y="41910"/>
                    </a:lnTo>
                    <a:lnTo>
                      <a:pt x="99400" y="67310"/>
                    </a:lnTo>
                    <a:lnTo>
                      <a:pt x="99400" y="87630"/>
                    </a:lnTo>
                    <a:lnTo>
                      <a:pt x="53422" y="88900"/>
                    </a:lnTo>
                    <a:lnTo>
                      <a:pt x="137974" y="88900"/>
                    </a:lnTo>
                    <a:lnTo>
                      <a:pt x="137974" y="67310"/>
                    </a:lnTo>
                    <a:lnTo>
                      <a:pt x="140269" y="55880"/>
                    </a:lnTo>
                    <a:lnTo>
                      <a:pt x="146523" y="46990"/>
                    </a:lnTo>
                    <a:lnTo>
                      <a:pt x="155790" y="40640"/>
                    </a:lnTo>
                    <a:lnTo>
                      <a:pt x="167125" y="38100"/>
                    </a:lnTo>
                    <a:lnTo>
                      <a:pt x="692837" y="38100"/>
                    </a:lnTo>
                    <a:lnTo>
                      <a:pt x="680871" y="20320"/>
                    </a:lnTo>
                    <a:lnTo>
                      <a:pt x="659341" y="5080"/>
                    </a:lnTo>
                    <a:lnTo>
                      <a:pt x="633006"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Real Text Pro"/>
                  <a:ea typeface="+mn-ea"/>
                  <a:cs typeface="+mn-cs"/>
                </a:endParaRPr>
              </a:p>
            </p:txBody>
          </p:sp>
          <p:pic>
            <p:nvPicPr>
              <p:cNvPr id="27" name="object 13">
                <a:extLst>
                  <a:ext uri="{FF2B5EF4-FFF2-40B4-BE49-F238E27FC236}">
                    <a16:creationId xmlns:a16="http://schemas.microsoft.com/office/drawing/2014/main" id="{5F24F085-B255-385F-B20F-11539B276AB3}"/>
                  </a:ext>
                </a:extLst>
              </p:cNvPr>
              <p:cNvPicPr/>
              <p:nvPr/>
            </p:nvPicPr>
            <p:blipFill>
              <a:blip r:embed="rId3" cstate="print"/>
              <a:stretch>
                <a:fillRect/>
              </a:stretch>
            </p:blipFill>
            <p:spPr>
              <a:xfrm>
                <a:off x="13479218" y="899211"/>
                <a:ext cx="206204" cy="209910"/>
              </a:xfrm>
              <a:prstGeom prst="rect">
                <a:avLst/>
              </a:prstGeom>
            </p:spPr>
          </p:pic>
        </p:grpSp>
        <p:grpSp>
          <p:nvGrpSpPr>
            <p:cNvPr id="15" name="object 14">
              <a:extLst>
                <a:ext uri="{FF2B5EF4-FFF2-40B4-BE49-F238E27FC236}">
                  <a16:creationId xmlns:a16="http://schemas.microsoft.com/office/drawing/2014/main" id="{0A52DDF0-41B7-67B1-CA35-4DF65F255625}"/>
                </a:ext>
              </a:extLst>
            </p:cNvPr>
            <p:cNvGrpSpPr/>
            <p:nvPr/>
          </p:nvGrpSpPr>
          <p:grpSpPr>
            <a:xfrm>
              <a:off x="8620222" y="563058"/>
              <a:ext cx="154767" cy="148222"/>
              <a:chOff x="14215470" y="927625"/>
              <a:chExt cx="255270" cy="244475"/>
            </a:xfrm>
          </p:grpSpPr>
          <p:pic>
            <p:nvPicPr>
              <p:cNvPr id="24" name="object 15">
                <a:extLst>
                  <a:ext uri="{FF2B5EF4-FFF2-40B4-BE49-F238E27FC236}">
                    <a16:creationId xmlns:a16="http://schemas.microsoft.com/office/drawing/2014/main" id="{279B0405-2C5F-02B6-4B8F-E76FD23AEE38}"/>
                  </a:ext>
                </a:extLst>
              </p:cNvPr>
              <p:cNvPicPr/>
              <p:nvPr/>
            </p:nvPicPr>
            <p:blipFill>
              <a:blip r:embed="rId4" cstate="print"/>
              <a:stretch>
                <a:fillRect/>
              </a:stretch>
            </p:blipFill>
            <p:spPr>
              <a:xfrm>
                <a:off x="14215470" y="927625"/>
                <a:ext cx="171837" cy="243919"/>
              </a:xfrm>
              <a:prstGeom prst="rect">
                <a:avLst/>
              </a:prstGeom>
            </p:spPr>
          </p:pic>
          <p:sp>
            <p:nvSpPr>
              <p:cNvPr id="25" name="object 16">
                <a:extLst>
                  <a:ext uri="{FF2B5EF4-FFF2-40B4-BE49-F238E27FC236}">
                    <a16:creationId xmlns:a16="http://schemas.microsoft.com/office/drawing/2014/main" id="{8C9AE2C0-54C0-FEE5-3EA6-BC103D53F009}"/>
                  </a:ext>
                </a:extLst>
              </p:cNvPr>
              <p:cNvSpPr/>
              <p:nvPr/>
            </p:nvSpPr>
            <p:spPr>
              <a:xfrm>
                <a:off x="14418868" y="1070878"/>
                <a:ext cx="52069" cy="96520"/>
              </a:xfrm>
              <a:custGeom>
                <a:avLst/>
                <a:gdLst/>
                <a:ahLst/>
                <a:cxnLst/>
                <a:rect l="l" t="t" r="r" b="b"/>
                <a:pathLst>
                  <a:path w="52069" h="96519">
                    <a:moveTo>
                      <a:pt x="0" y="96520"/>
                    </a:moveTo>
                    <a:lnTo>
                      <a:pt x="51830" y="96520"/>
                    </a:lnTo>
                    <a:lnTo>
                      <a:pt x="51830" y="0"/>
                    </a:lnTo>
                    <a:lnTo>
                      <a:pt x="0" y="0"/>
                    </a:lnTo>
                    <a:lnTo>
                      <a:pt x="0" y="9652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Real Text Pro"/>
                  <a:ea typeface="+mn-ea"/>
                  <a:cs typeface="+mn-cs"/>
                </a:endParaRPr>
              </a:p>
            </p:txBody>
          </p:sp>
        </p:grpSp>
        <p:sp>
          <p:nvSpPr>
            <p:cNvPr id="16" name="object 17">
              <a:extLst>
                <a:ext uri="{FF2B5EF4-FFF2-40B4-BE49-F238E27FC236}">
                  <a16:creationId xmlns:a16="http://schemas.microsoft.com/office/drawing/2014/main" id="{8E42491F-4CAC-8619-DAC0-B98D57F557F7}"/>
                </a:ext>
              </a:extLst>
            </p:cNvPr>
            <p:cNvSpPr/>
            <p:nvPr/>
          </p:nvSpPr>
          <p:spPr>
            <a:xfrm>
              <a:off x="8743531" y="565215"/>
              <a:ext cx="97788" cy="143217"/>
            </a:xfrm>
            <a:custGeom>
              <a:avLst/>
              <a:gdLst/>
              <a:ahLst/>
              <a:cxnLst/>
              <a:rect l="l" t="t" r="r" b="b"/>
              <a:pathLst>
                <a:path w="161290" h="236219">
                  <a:moveTo>
                    <a:pt x="160832" y="0"/>
                  </a:moveTo>
                  <a:lnTo>
                    <a:pt x="108991" y="0"/>
                  </a:lnTo>
                  <a:lnTo>
                    <a:pt x="108991" y="95250"/>
                  </a:lnTo>
                  <a:lnTo>
                    <a:pt x="51841" y="95250"/>
                  </a:lnTo>
                  <a:lnTo>
                    <a:pt x="51841" y="0"/>
                  </a:lnTo>
                  <a:lnTo>
                    <a:pt x="0" y="0"/>
                  </a:lnTo>
                  <a:lnTo>
                    <a:pt x="0" y="95250"/>
                  </a:lnTo>
                  <a:lnTo>
                    <a:pt x="0" y="139700"/>
                  </a:lnTo>
                  <a:lnTo>
                    <a:pt x="108991" y="139700"/>
                  </a:lnTo>
                  <a:lnTo>
                    <a:pt x="108991" y="236220"/>
                  </a:lnTo>
                  <a:lnTo>
                    <a:pt x="160832" y="236220"/>
                  </a:lnTo>
                  <a:lnTo>
                    <a:pt x="160832" y="139700"/>
                  </a:lnTo>
                  <a:lnTo>
                    <a:pt x="160832" y="95250"/>
                  </a:lnTo>
                  <a:lnTo>
                    <a:pt x="160832"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Real Text Pro"/>
                <a:ea typeface="+mn-ea"/>
                <a:cs typeface="+mn-cs"/>
              </a:endParaRPr>
            </a:p>
          </p:txBody>
        </p:sp>
        <p:sp>
          <p:nvSpPr>
            <p:cNvPr id="17" name="object 18">
              <a:extLst>
                <a:ext uri="{FF2B5EF4-FFF2-40B4-BE49-F238E27FC236}">
                  <a16:creationId xmlns:a16="http://schemas.microsoft.com/office/drawing/2014/main" id="{B2E2141D-48D8-C931-1655-AFB469B3B979}"/>
                </a:ext>
              </a:extLst>
            </p:cNvPr>
            <p:cNvSpPr/>
            <p:nvPr/>
          </p:nvSpPr>
          <p:spPr>
            <a:xfrm>
              <a:off x="8868146" y="565211"/>
              <a:ext cx="31569" cy="143601"/>
            </a:xfrm>
            <a:custGeom>
              <a:avLst/>
              <a:gdLst/>
              <a:ahLst/>
              <a:cxnLst/>
              <a:rect l="l" t="t" r="r" b="b"/>
              <a:pathLst>
                <a:path w="52069" h="236855">
                  <a:moveTo>
                    <a:pt x="51830" y="0"/>
                  </a:moveTo>
                  <a:lnTo>
                    <a:pt x="0" y="0"/>
                  </a:lnTo>
                  <a:lnTo>
                    <a:pt x="0" y="236820"/>
                  </a:lnTo>
                  <a:lnTo>
                    <a:pt x="51830" y="236820"/>
                  </a:lnTo>
                  <a:lnTo>
                    <a:pt x="51830" y="0"/>
                  </a:lnTo>
                  <a:close/>
                </a:path>
              </a:pathLst>
            </a:custGeom>
            <a:solidFill>
              <a:srgbClr val="FFFFFF"/>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Real Text Pro"/>
                <a:ea typeface="+mn-ea"/>
                <a:cs typeface="+mn-cs"/>
              </a:endParaRPr>
            </a:p>
          </p:txBody>
        </p:sp>
        <p:pic>
          <p:nvPicPr>
            <p:cNvPr id="18" name="object 19">
              <a:extLst>
                <a:ext uri="{FF2B5EF4-FFF2-40B4-BE49-F238E27FC236}">
                  <a16:creationId xmlns:a16="http://schemas.microsoft.com/office/drawing/2014/main" id="{D0DC07B4-08E3-87D3-B69C-266284B21F78}"/>
                </a:ext>
              </a:extLst>
            </p:cNvPr>
            <p:cNvPicPr/>
            <p:nvPr/>
          </p:nvPicPr>
          <p:blipFill>
            <a:blip r:embed="rId5" cstate="print"/>
            <a:stretch>
              <a:fillRect/>
            </a:stretch>
          </p:blipFill>
          <p:spPr>
            <a:xfrm>
              <a:off x="8926675" y="563062"/>
              <a:ext cx="203386" cy="147878"/>
            </a:xfrm>
            <a:prstGeom prst="rect">
              <a:avLst/>
            </a:prstGeom>
          </p:spPr>
        </p:pic>
        <p:grpSp>
          <p:nvGrpSpPr>
            <p:cNvPr id="19" name="object 20">
              <a:extLst>
                <a:ext uri="{FF2B5EF4-FFF2-40B4-BE49-F238E27FC236}">
                  <a16:creationId xmlns:a16="http://schemas.microsoft.com/office/drawing/2014/main" id="{B5096E95-003C-6148-D91D-CF50C9CB74DE}"/>
                </a:ext>
              </a:extLst>
            </p:cNvPr>
            <p:cNvGrpSpPr/>
            <p:nvPr/>
          </p:nvGrpSpPr>
          <p:grpSpPr>
            <a:xfrm>
              <a:off x="8600880" y="735064"/>
              <a:ext cx="538218" cy="85083"/>
              <a:chOff x="14183569" y="1211327"/>
              <a:chExt cx="887730" cy="140335"/>
            </a:xfrm>
          </p:grpSpPr>
          <p:pic>
            <p:nvPicPr>
              <p:cNvPr id="21" name="object 21">
                <a:extLst>
                  <a:ext uri="{FF2B5EF4-FFF2-40B4-BE49-F238E27FC236}">
                    <a16:creationId xmlns:a16="http://schemas.microsoft.com/office/drawing/2014/main" id="{020A3486-15AC-2C28-04E1-45F1CE792B99}"/>
                  </a:ext>
                </a:extLst>
              </p:cNvPr>
              <p:cNvPicPr/>
              <p:nvPr/>
            </p:nvPicPr>
            <p:blipFill>
              <a:blip r:embed="rId6" cstate="print"/>
              <a:stretch>
                <a:fillRect/>
              </a:stretch>
            </p:blipFill>
            <p:spPr>
              <a:xfrm>
                <a:off x="14183569" y="1211327"/>
                <a:ext cx="181745" cy="140267"/>
              </a:xfrm>
              <a:prstGeom prst="rect">
                <a:avLst/>
              </a:prstGeom>
            </p:spPr>
          </p:pic>
          <p:pic>
            <p:nvPicPr>
              <p:cNvPr id="22" name="object 22">
                <a:extLst>
                  <a:ext uri="{FF2B5EF4-FFF2-40B4-BE49-F238E27FC236}">
                    <a16:creationId xmlns:a16="http://schemas.microsoft.com/office/drawing/2014/main" id="{556E6201-91E4-2920-7749-C1639C3CB3C8}"/>
                  </a:ext>
                </a:extLst>
              </p:cNvPr>
              <p:cNvPicPr/>
              <p:nvPr/>
            </p:nvPicPr>
            <p:blipFill>
              <a:blip r:embed="rId7" cstate="print"/>
              <a:stretch>
                <a:fillRect/>
              </a:stretch>
            </p:blipFill>
            <p:spPr>
              <a:xfrm>
                <a:off x="14396082" y="1217741"/>
                <a:ext cx="226103" cy="102029"/>
              </a:xfrm>
              <a:prstGeom prst="rect">
                <a:avLst/>
              </a:prstGeom>
            </p:spPr>
          </p:pic>
          <p:pic>
            <p:nvPicPr>
              <p:cNvPr id="23" name="object 23">
                <a:extLst>
                  <a:ext uri="{FF2B5EF4-FFF2-40B4-BE49-F238E27FC236}">
                    <a16:creationId xmlns:a16="http://schemas.microsoft.com/office/drawing/2014/main" id="{1A62FAD4-11B4-AA9C-7E6E-89B592095E54}"/>
                  </a:ext>
                </a:extLst>
              </p:cNvPr>
              <p:cNvPicPr/>
              <p:nvPr/>
            </p:nvPicPr>
            <p:blipFill>
              <a:blip r:embed="rId8" cstate="print"/>
              <a:stretch>
                <a:fillRect/>
              </a:stretch>
            </p:blipFill>
            <p:spPr>
              <a:xfrm>
                <a:off x="14642404" y="1216069"/>
                <a:ext cx="428683" cy="105546"/>
              </a:xfrm>
              <a:prstGeom prst="rect">
                <a:avLst/>
              </a:prstGeom>
            </p:spPr>
          </p:pic>
        </p:grpSp>
        <p:pic>
          <p:nvPicPr>
            <p:cNvPr id="20" name="object 24">
              <a:extLst>
                <a:ext uri="{FF2B5EF4-FFF2-40B4-BE49-F238E27FC236}">
                  <a16:creationId xmlns:a16="http://schemas.microsoft.com/office/drawing/2014/main" id="{DC2FA204-37CA-BFA1-9DBC-66AE1D1F4D1C}"/>
                </a:ext>
              </a:extLst>
            </p:cNvPr>
            <p:cNvPicPr/>
            <p:nvPr/>
          </p:nvPicPr>
          <p:blipFill>
            <a:blip r:embed="rId9" cstate="print"/>
            <a:srcRect t="2" r="8299" b="42551"/>
            <a:stretch/>
          </p:blipFill>
          <p:spPr>
            <a:xfrm>
              <a:off x="11109501" y="589948"/>
              <a:ext cx="673884" cy="185327"/>
            </a:xfrm>
            <a:prstGeom prst="rect">
              <a:avLst/>
            </a:prstGeom>
          </p:spPr>
        </p:pic>
      </p:grpSp>
    </p:spTree>
    <p:extLst>
      <p:ext uri="{BB962C8B-B14F-4D97-AF65-F5344CB8AC3E}">
        <p14:creationId xmlns:p14="http://schemas.microsoft.com/office/powerpoint/2010/main" val="188759223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Only" preserve="1">
  <p:cSld name="4_Title Only and Grapic - Dark">
    <p:bg>
      <p:bgPr>
        <a:solidFill>
          <a:schemeClr val="tx2"/>
        </a:solidFill>
        <a:effectLst/>
      </p:bgPr>
    </p:bg>
    <p:spTree>
      <p:nvGrpSpPr>
        <p:cNvPr id="1" name=""/>
        <p:cNvGrpSpPr/>
        <p:nvPr/>
      </p:nvGrpSpPr>
      <p:grpSpPr>
        <a:xfrm>
          <a:off x="0" y="0"/>
          <a:ext cx="0" cy="0"/>
          <a:chOff x="0" y="0"/>
          <a:chExt cx="0" cy="0"/>
        </a:xfrm>
      </p:grpSpPr>
      <p:sp>
        <p:nvSpPr>
          <p:cNvPr id="7" name="Page Number">
            <a:extLst>
              <a:ext uri="{FF2B5EF4-FFF2-40B4-BE49-F238E27FC236}">
                <a16:creationId xmlns:a16="http://schemas.microsoft.com/office/drawing/2014/main" id="{8EE183D6-F853-D28F-DEF8-905FC1CA4927}"/>
              </a:ext>
            </a:extLst>
          </p:cNvPr>
          <p:cNvSpPr txBox="1"/>
          <p:nvPr userDrawn="1"/>
        </p:nvSpPr>
        <p:spPr>
          <a:xfrm>
            <a:off x="11566535" y="6234575"/>
            <a:ext cx="279503" cy="283464"/>
          </a:xfrm>
          <a:prstGeom prst="rect">
            <a:avLst/>
          </a:prstGeom>
          <a:solidFill>
            <a:srgbClr val="FFD700"/>
          </a:solidFill>
        </p:spPr>
        <p:txBody>
          <a:bodyPr vert="horz" wrap="square" lIns="0" tIns="38884" rIns="0" bIns="0" rtlCol="0">
            <a:spAutoFit/>
          </a:bodyPr>
          <a:lstStyle/>
          <a:p>
            <a:pPr marL="55825" algn="ctr">
              <a:spcBef>
                <a:spcPts val="306"/>
              </a:spcBef>
            </a:pPr>
            <a:endParaRPr sz="1182">
              <a:latin typeface="Real Head Pro"/>
              <a:cs typeface="Real Head Pro"/>
            </a:endParaRPr>
          </a:p>
        </p:txBody>
      </p:sp>
      <p:sp>
        <p:nvSpPr>
          <p:cNvPr id="2" name="Title 1">
            <a:extLst>
              <a:ext uri="{FF2B5EF4-FFF2-40B4-BE49-F238E27FC236}">
                <a16:creationId xmlns:a16="http://schemas.microsoft.com/office/drawing/2014/main" id="{0F485E03-52E8-3AF3-2238-DAC8C9B61935}"/>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8C16F05C-4BB9-7C82-C709-68EA2F74B897}"/>
              </a:ext>
            </a:extLst>
          </p:cNvPr>
          <p:cNvSpPr>
            <a:spLocks noGrp="1"/>
          </p:cNvSpPr>
          <p:nvPr>
            <p:ph type="dt" sz="half" idx="10"/>
          </p:nvPr>
        </p:nvSpPr>
        <p:spPr/>
        <p:txBody>
          <a:bodyPr/>
          <a:lstStyle>
            <a:lvl1pPr>
              <a:defRPr>
                <a:solidFill>
                  <a:schemeClr val="bg1"/>
                </a:solidFill>
              </a:defRPr>
            </a:lvl1pPr>
          </a:lstStyle>
          <a:p>
            <a:fld id="{BB73F1C2-9DBF-430B-A4AA-5518C9FCA26A}" type="datetime1">
              <a:rPr lang="en-US" smtClean="0"/>
              <a:t>4/2/2025</a:t>
            </a:fld>
            <a:endParaRPr lang="en-US"/>
          </a:p>
        </p:txBody>
      </p:sp>
      <p:sp>
        <p:nvSpPr>
          <p:cNvPr id="4" name="Footer Placeholder 3">
            <a:extLst>
              <a:ext uri="{FF2B5EF4-FFF2-40B4-BE49-F238E27FC236}">
                <a16:creationId xmlns:a16="http://schemas.microsoft.com/office/drawing/2014/main" id="{B562C211-B566-11DA-A38D-906051586563}"/>
              </a:ext>
            </a:extLst>
          </p:cNvPr>
          <p:cNvSpPr>
            <a:spLocks noGrp="1"/>
          </p:cNvSpPr>
          <p:nvPr>
            <p:ph type="ftr" sz="quarter" idx="11"/>
          </p:nvPr>
        </p:nvSpPr>
        <p:spPr/>
        <p:txBody>
          <a:bodyPr/>
          <a:lstStyle>
            <a:lvl1pPr>
              <a:defRPr>
                <a:solidFill>
                  <a:schemeClr val="bg1"/>
                </a:solidFill>
              </a:defRPr>
            </a:lvl1pPr>
          </a:lstStyle>
          <a:p>
            <a:endParaRPr lang="en-US"/>
          </a:p>
        </p:txBody>
      </p:sp>
      <p:sp>
        <p:nvSpPr>
          <p:cNvPr id="5" name="Slide Number Placeholder 4">
            <a:extLst>
              <a:ext uri="{FF2B5EF4-FFF2-40B4-BE49-F238E27FC236}">
                <a16:creationId xmlns:a16="http://schemas.microsoft.com/office/drawing/2014/main" id="{A7048A19-F166-EDA1-0B00-A974B424E906}"/>
              </a:ext>
            </a:extLst>
          </p:cNvPr>
          <p:cNvSpPr>
            <a:spLocks noGrp="1"/>
          </p:cNvSpPr>
          <p:nvPr>
            <p:ph type="sldNum" sz="quarter" idx="12"/>
          </p:nvPr>
        </p:nvSpPr>
        <p:spPr/>
        <p:txBody>
          <a:bodyPr/>
          <a:lstStyle/>
          <a:p>
            <a:fld id="{FF7D9A68-EC15-4B1F-850C-8A6CCAFA90D8}" type="slidenum">
              <a:rPr lang="en-US" smtClean="0"/>
              <a:t>‹#›</a:t>
            </a:fld>
            <a:endParaRPr lang="en-US"/>
          </a:p>
        </p:txBody>
      </p:sp>
      <p:sp>
        <p:nvSpPr>
          <p:cNvPr id="6" name="object 24">
            <a:extLst>
              <a:ext uri="{FF2B5EF4-FFF2-40B4-BE49-F238E27FC236}">
                <a16:creationId xmlns:a16="http://schemas.microsoft.com/office/drawing/2014/main" id="{923F10B5-0EAF-6574-7B70-A5790ADE8361}"/>
              </a:ext>
            </a:extLst>
          </p:cNvPr>
          <p:cNvSpPr/>
          <p:nvPr userDrawn="1"/>
        </p:nvSpPr>
        <p:spPr>
          <a:xfrm>
            <a:off x="1588" y="343463"/>
            <a:ext cx="152457" cy="6170641"/>
          </a:xfrm>
          <a:custGeom>
            <a:avLst/>
            <a:gdLst/>
            <a:ahLst/>
            <a:cxnLst/>
            <a:rect l="l" t="t" r="r" b="b"/>
            <a:pathLst>
              <a:path w="251460" h="10177780">
                <a:moveTo>
                  <a:pt x="251301" y="0"/>
                </a:moveTo>
                <a:lnTo>
                  <a:pt x="0" y="0"/>
                </a:lnTo>
                <a:lnTo>
                  <a:pt x="0" y="10177700"/>
                </a:lnTo>
                <a:lnTo>
                  <a:pt x="251301" y="10177700"/>
                </a:lnTo>
                <a:lnTo>
                  <a:pt x="251301" y="0"/>
                </a:lnTo>
                <a:close/>
              </a:path>
            </a:pathLst>
          </a:custGeom>
          <a:solidFill>
            <a:schemeClr val="accent3"/>
          </a:solidFill>
        </p:spPr>
        <p:txBody>
          <a:bodyPr wrap="square" lIns="0" tIns="0" rIns="0" bIns="0" rtlCol="0"/>
          <a:lstStyle/>
          <a:p>
            <a:endParaRPr kern="0">
              <a:solidFill>
                <a:sysClr val="windowText" lastClr="000000"/>
              </a:solidFill>
            </a:endParaRPr>
          </a:p>
        </p:txBody>
      </p:sp>
      <p:grpSp>
        <p:nvGrpSpPr>
          <p:cNvPr id="8" name="Group 7">
            <a:extLst>
              <a:ext uri="{FF2B5EF4-FFF2-40B4-BE49-F238E27FC236}">
                <a16:creationId xmlns:a16="http://schemas.microsoft.com/office/drawing/2014/main" id="{A7080436-D425-5743-5CA5-1A742807E5F2}"/>
              </a:ext>
            </a:extLst>
          </p:cNvPr>
          <p:cNvGrpSpPr>
            <a:grpSpLocks noChangeAspect="1"/>
          </p:cNvGrpSpPr>
          <p:nvPr userDrawn="1"/>
        </p:nvGrpSpPr>
        <p:grpSpPr>
          <a:xfrm>
            <a:off x="9560283" y="6247999"/>
            <a:ext cx="1869482" cy="292608"/>
            <a:chOff x="9444187" y="508520"/>
            <a:chExt cx="2339198" cy="366127"/>
          </a:xfrm>
        </p:grpSpPr>
        <p:pic>
          <p:nvPicPr>
            <p:cNvPr id="9" name="object 4">
              <a:extLst>
                <a:ext uri="{FF2B5EF4-FFF2-40B4-BE49-F238E27FC236}">
                  <a16:creationId xmlns:a16="http://schemas.microsoft.com/office/drawing/2014/main" id="{A242E151-9254-7A71-C756-EE957D7C8B62}"/>
                </a:ext>
              </a:extLst>
            </p:cNvPr>
            <p:cNvPicPr/>
            <p:nvPr/>
          </p:nvPicPr>
          <p:blipFill>
            <a:blip r:embed="rId2" cstate="print"/>
            <a:stretch>
              <a:fillRect/>
            </a:stretch>
          </p:blipFill>
          <p:spPr>
            <a:xfrm>
              <a:off x="9444187" y="568546"/>
              <a:ext cx="1372592" cy="246070"/>
            </a:xfrm>
            <a:prstGeom prst="rect">
              <a:avLst/>
            </a:prstGeom>
          </p:spPr>
        </p:pic>
        <p:sp>
          <p:nvSpPr>
            <p:cNvPr id="10" name="object 10">
              <a:extLst>
                <a:ext uri="{FF2B5EF4-FFF2-40B4-BE49-F238E27FC236}">
                  <a16:creationId xmlns:a16="http://schemas.microsoft.com/office/drawing/2014/main" id="{8D3B4ED0-FB76-4A2E-ADF2-30A7FBCEC9B5}"/>
                </a:ext>
              </a:extLst>
            </p:cNvPr>
            <p:cNvSpPr/>
            <p:nvPr/>
          </p:nvSpPr>
          <p:spPr>
            <a:xfrm>
              <a:off x="10956631" y="508520"/>
              <a:ext cx="0" cy="366127"/>
            </a:xfrm>
            <a:custGeom>
              <a:avLst/>
              <a:gdLst/>
              <a:ahLst/>
              <a:cxnLst/>
              <a:rect l="l" t="t" r="r" b="b"/>
              <a:pathLst>
                <a:path h="603885">
                  <a:moveTo>
                    <a:pt x="0" y="0"/>
                  </a:moveTo>
                  <a:lnTo>
                    <a:pt x="0" y="603876"/>
                  </a:lnTo>
                </a:path>
              </a:pathLst>
            </a:custGeom>
            <a:ln w="8481">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Real Text Pro"/>
                <a:ea typeface="+mn-ea"/>
                <a:cs typeface="+mn-cs"/>
              </a:endParaRPr>
            </a:p>
          </p:txBody>
        </p:sp>
        <p:pic>
          <p:nvPicPr>
            <p:cNvPr id="11" name="object 24">
              <a:extLst>
                <a:ext uri="{FF2B5EF4-FFF2-40B4-BE49-F238E27FC236}">
                  <a16:creationId xmlns:a16="http://schemas.microsoft.com/office/drawing/2014/main" id="{0CAA7760-7998-2389-1C76-5D55127363DC}"/>
                </a:ext>
              </a:extLst>
            </p:cNvPr>
            <p:cNvPicPr/>
            <p:nvPr/>
          </p:nvPicPr>
          <p:blipFill>
            <a:blip r:embed="rId3" cstate="print"/>
            <a:srcRect t="2" r="8299" b="42551"/>
            <a:stretch/>
          </p:blipFill>
          <p:spPr>
            <a:xfrm>
              <a:off x="11109501" y="589948"/>
              <a:ext cx="673884" cy="185327"/>
            </a:xfrm>
            <a:prstGeom prst="rect">
              <a:avLst/>
            </a:prstGeom>
          </p:spPr>
        </p:pic>
      </p:grpSp>
    </p:spTree>
    <p:extLst>
      <p:ext uri="{BB962C8B-B14F-4D97-AF65-F5344CB8AC3E}">
        <p14:creationId xmlns:p14="http://schemas.microsoft.com/office/powerpoint/2010/main" val="163428264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0E064B-BE99-D0E1-93D6-2092DA28206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C7BB641-F4EB-BCA2-6ADE-854D11074DE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C9C32CC-76AC-66F3-3375-B83922D71AEA}"/>
              </a:ext>
            </a:extLst>
          </p:cNvPr>
          <p:cNvSpPr>
            <a:spLocks noGrp="1"/>
          </p:cNvSpPr>
          <p:nvPr>
            <p:ph type="dt" sz="half" idx="10"/>
          </p:nvPr>
        </p:nvSpPr>
        <p:spPr/>
        <p:txBody>
          <a:bodyPr/>
          <a:lstStyle/>
          <a:p>
            <a:fld id="{EFA8E549-90CA-49F9-9A79-D046AE9D56C8}" type="datetime1">
              <a:rPr lang="en-US" smtClean="0"/>
              <a:t>4/2/2025</a:t>
            </a:fld>
            <a:endParaRPr lang="en-US"/>
          </a:p>
        </p:txBody>
      </p:sp>
      <p:sp>
        <p:nvSpPr>
          <p:cNvPr id="5" name="Footer Placeholder 4">
            <a:extLst>
              <a:ext uri="{FF2B5EF4-FFF2-40B4-BE49-F238E27FC236}">
                <a16:creationId xmlns:a16="http://schemas.microsoft.com/office/drawing/2014/main" id="{8BDB066B-2714-8BBD-2CF8-D690E3105100}"/>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342944473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6_Title with Overlay">
    <p:bg>
      <p:bgPr>
        <a:solidFill>
          <a:schemeClr val="tx2"/>
        </a:solidFill>
        <a:effectLst/>
      </p:bgPr>
    </p:bg>
    <p:spTree>
      <p:nvGrpSpPr>
        <p:cNvPr id="1" name=""/>
        <p:cNvGrpSpPr/>
        <p:nvPr/>
      </p:nvGrpSpPr>
      <p:grpSpPr>
        <a:xfrm>
          <a:off x="0" y="0"/>
          <a:ext cx="0" cy="0"/>
          <a:chOff x="0" y="0"/>
          <a:chExt cx="0" cy="0"/>
        </a:xfrm>
      </p:grpSpPr>
      <p:sp>
        <p:nvSpPr>
          <p:cNvPr id="25" name="Date Placeholder 24">
            <a:extLst>
              <a:ext uri="{FF2B5EF4-FFF2-40B4-BE49-F238E27FC236}">
                <a16:creationId xmlns:a16="http://schemas.microsoft.com/office/drawing/2014/main" id="{A57172BC-5EB5-C0CF-6CC0-97CFD6F72CB5}"/>
              </a:ext>
            </a:extLst>
          </p:cNvPr>
          <p:cNvSpPr>
            <a:spLocks noGrp="1"/>
          </p:cNvSpPr>
          <p:nvPr>
            <p:ph type="dt" sz="half" idx="10"/>
          </p:nvPr>
        </p:nvSpPr>
        <p:spPr/>
        <p:txBody>
          <a:bodyPr/>
          <a:lstStyle/>
          <a:p>
            <a:fld id="{51FAC167-1066-4F75-BBD8-AD23800D7D1F}" type="datetime1">
              <a:rPr lang="en-US" smtClean="0"/>
              <a:t>4/2/2025</a:t>
            </a:fld>
            <a:endParaRPr lang="en-US"/>
          </a:p>
        </p:txBody>
      </p:sp>
      <p:sp>
        <p:nvSpPr>
          <p:cNvPr id="26" name="Footer Placeholder 25">
            <a:extLst>
              <a:ext uri="{FF2B5EF4-FFF2-40B4-BE49-F238E27FC236}">
                <a16:creationId xmlns:a16="http://schemas.microsoft.com/office/drawing/2014/main" id="{92257F35-DE6E-9549-6ECF-1D42BE651129}"/>
              </a:ext>
            </a:extLst>
          </p:cNvPr>
          <p:cNvSpPr>
            <a:spLocks noGrp="1"/>
          </p:cNvSpPr>
          <p:nvPr>
            <p:ph type="ftr" sz="quarter" idx="11"/>
          </p:nvPr>
        </p:nvSpPr>
        <p:spPr/>
        <p:txBody>
          <a:bodyPr/>
          <a:lstStyle/>
          <a:p>
            <a:endParaRPr lang="en-US"/>
          </a:p>
        </p:txBody>
      </p:sp>
      <p:pic>
        <p:nvPicPr>
          <p:cNvPr id="4" name="object 4">
            <a:extLst>
              <a:ext uri="{FF2B5EF4-FFF2-40B4-BE49-F238E27FC236}">
                <a16:creationId xmlns:a16="http://schemas.microsoft.com/office/drawing/2014/main" id="{6B47318C-4C7C-9AC6-7295-C82E7586571D}"/>
              </a:ext>
            </a:extLst>
          </p:cNvPr>
          <p:cNvPicPr/>
          <p:nvPr/>
        </p:nvPicPr>
        <p:blipFill>
          <a:blip r:embed="rId2" cstate="print">
            <a:extLst>
              <a:ext uri="{BEBA8EAE-BF5A-486C-A8C5-ECC9F3942E4B}">
                <a14:imgProps xmlns:a14="http://schemas.microsoft.com/office/drawing/2010/main">
                  <a14:imgLayer r:embed="rId3">
                    <a14:imgEffect>
                      <a14:saturation sat="248000"/>
                    </a14:imgEffect>
                    <a14:imgEffect>
                      <a14:brightnessContrast bright="-39000"/>
                    </a14:imgEffect>
                  </a14:imgLayer>
                </a14:imgProps>
              </a:ext>
            </a:extLst>
          </a:blip>
          <a:stretch>
            <a:fillRect/>
          </a:stretch>
        </p:blipFill>
        <p:spPr>
          <a:xfrm>
            <a:off x="-8365" y="1785"/>
            <a:ext cx="12188825" cy="6856215"/>
          </a:xfrm>
          <a:prstGeom prst="rect">
            <a:avLst/>
          </a:prstGeom>
        </p:spPr>
      </p:pic>
      <p:sp>
        <p:nvSpPr>
          <p:cNvPr id="5" name="object 5">
            <a:extLst>
              <a:ext uri="{FF2B5EF4-FFF2-40B4-BE49-F238E27FC236}">
                <a16:creationId xmlns:a16="http://schemas.microsoft.com/office/drawing/2014/main" id="{67A66EC3-1C95-4734-B2D5-580258F8E8C3}"/>
              </a:ext>
            </a:extLst>
          </p:cNvPr>
          <p:cNvSpPr/>
          <p:nvPr/>
        </p:nvSpPr>
        <p:spPr>
          <a:xfrm>
            <a:off x="16343" y="4520"/>
            <a:ext cx="12188826" cy="6856312"/>
          </a:xfrm>
          <a:custGeom>
            <a:avLst/>
            <a:gdLst/>
            <a:ahLst/>
            <a:cxnLst/>
            <a:rect l="l" t="t" r="r" b="b"/>
            <a:pathLst>
              <a:path w="20104100" h="11308715">
                <a:moveTo>
                  <a:pt x="20104100" y="0"/>
                </a:moveTo>
                <a:lnTo>
                  <a:pt x="0" y="0"/>
                </a:lnTo>
                <a:lnTo>
                  <a:pt x="0" y="11308556"/>
                </a:lnTo>
                <a:lnTo>
                  <a:pt x="20104100" y="11308556"/>
                </a:lnTo>
                <a:lnTo>
                  <a:pt x="20104100" y="0"/>
                </a:lnTo>
                <a:close/>
              </a:path>
            </a:pathLst>
          </a:custGeom>
          <a:solidFill>
            <a:srgbClr val="A3AFB8">
              <a:alpha val="10000"/>
            </a:srgbClr>
          </a:solidFill>
        </p:spPr>
        <p:txBody>
          <a:bodyPr wrap="square" lIns="0" tIns="0" rIns="0" bIns="0" rtlCol="0"/>
          <a:lstStyle/>
          <a:p>
            <a:endParaRPr/>
          </a:p>
        </p:txBody>
      </p:sp>
      <p:pic>
        <p:nvPicPr>
          <p:cNvPr id="6" name="object 6">
            <a:extLst>
              <a:ext uri="{FF2B5EF4-FFF2-40B4-BE49-F238E27FC236}">
                <a16:creationId xmlns:a16="http://schemas.microsoft.com/office/drawing/2014/main" id="{A3B608DA-4897-AE5C-BF4F-4699CDEF9782}"/>
              </a:ext>
            </a:extLst>
          </p:cNvPr>
          <p:cNvPicPr/>
          <p:nvPr/>
        </p:nvPicPr>
        <p:blipFill>
          <a:blip r:embed="rId4" cstate="print">
            <a:alphaModFix amt="30000"/>
          </a:blip>
          <a:srcRect b="50000"/>
          <a:stretch/>
        </p:blipFill>
        <p:spPr>
          <a:xfrm>
            <a:off x="-13167" y="-3105"/>
            <a:ext cx="12188824" cy="6918255"/>
          </a:xfrm>
          <a:prstGeom prst="rect">
            <a:avLst/>
          </a:prstGeom>
        </p:spPr>
      </p:pic>
      <p:sp>
        <p:nvSpPr>
          <p:cNvPr id="24" name="Title 23">
            <a:extLst>
              <a:ext uri="{FF2B5EF4-FFF2-40B4-BE49-F238E27FC236}">
                <a16:creationId xmlns:a16="http://schemas.microsoft.com/office/drawing/2014/main" id="{CEBB91A9-6F0E-2D55-308F-665EE784ADE5}"/>
              </a:ext>
            </a:extLst>
          </p:cNvPr>
          <p:cNvSpPr>
            <a:spLocks noGrp="1"/>
          </p:cNvSpPr>
          <p:nvPr userDrawn="1">
            <p:ph type="title"/>
          </p:nvPr>
        </p:nvSpPr>
        <p:spPr/>
        <p:txBody>
          <a:bodyPr anchor="ctr"/>
          <a:lstStyle>
            <a:lvl1pPr>
              <a:defRPr>
                <a:solidFill>
                  <a:schemeClr val="bg1"/>
                </a:solidFill>
              </a:defRPr>
            </a:lvl1pPr>
          </a:lstStyle>
          <a:p>
            <a:r>
              <a:rPr lang="en-US"/>
              <a:t>Click to edit Master title style</a:t>
            </a:r>
          </a:p>
        </p:txBody>
      </p:sp>
      <p:grpSp>
        <p:nvGrpSpPr>
          <p:cNvPr id="2" name="Group 1">
            <a:extLst>
              <a:ext uri="{FF2B5EF4-FFF2-40B4-BE49-F238E27FC236}">
                <a16:creationId xmlns:a16="http://schemas.microsoft.com/office/drawing/2014/main" id="{3B312529-D346-D7B7-0964-45D261B7DD36}"/>
              </a:ext>
            </a:extLst>
          </p:cNvPr>
          <p:cNvGrpSpPr/>
          <p:nvPr userDrawn="1"/>
        </p:nvGrpSpPr>
        <p:grpSpPr>
          <a:xfrm>
            <a:off x="10768672" y="6279572"/>
            <a:ext cx="694340" cy="190186"/>
            <a:chOff x="10768672" y="6279572"/>
            <a:chExt cx="694340" cy="190186"/>
          </a:xfrm>
        </p:grpSpPr>
        <p:grpSp>
          <p:nvGrpSpPr>
            <p:cNvPr id="3" name="object 26">
              <a:extLst>
                <a:ext uri="{FF2B5EF4-FFF2-40B4-BE49-F238E27FC236}">
                  <a16:creationId xmlns:a16="http://schemas.microsoft.com/office/drawing/2014/main" id="{A2F59678-3957-F88A-4E55-0C58D07E700B}"/>
                </a:ext>
              </a:extLst>
            </p:cNvPr>
            <p:cNvGrpSpPr/>
            <p:nvPr/>
          </p:nvGrpSpPr>
          <p:grpSpPr>
            <a:xfrm>
              <a:off x="10768672" y="6279841"/>
              <a:ext cx="348802" cy="189801"/>
              <a:chOff x="17759098" y="10356815"/>
              <a:chExt cx="575310" cy="313055"/>
            </a:xfrm>
          </p:grpSpPr>
          <p:sp>
            <p:nvSpPr>
              <p:cNvPr id="8" name="object 27">
                <a:extLst>
                  <a:ext uri="{FF2B5EF4-FFF2-40B4-BE49-F238E27FC236}">
                    <a16:creationId xmlns:a16="http://schemas.microsoft.com/office/drawing/2014/main" id="{C8A47678-2BDF-4E2B-3E7C-BFA071F15FC9}"/>
                  </a:ext>
                </a:extLst>
              </p:cNvPr>
              <p:cNvSpPr/>
              <p:nvPr/>
            </p:nvSpPr>
            <p:spPr>
              <a:xfrm>
                <a:off x="17759098" y="10361392"/>
                <a:ext cx="281940" cy="302895"/>
              </a:xfrm>
              <a:custGeom>
                <a:avLst/>
                <a:gdLst/>
                <a:ahLst/>
                <a:cxnLst/>
                <a:rect l="l" t="t" r="r" b="b"/>
                <a:pathLst>
                  <a:path w="281940" h="302895">
                    <a:moveTo>
                      <a:pt x="281478" y="0"/>
                    </a:moveTo>
                    <a:lnTo>
                      <a:pt x="202936" y="0"/>
                    </a:lnTo>
                    <a:lnTo>
                      <a:pt x="202936" y="174308"/>
                    </a:lnTo>
                    <a:lnTo>
                      <a:pt x="80364" y="0"/>
                    </a:lnTo>
                    <a:lnTo>
                      <a:pt x="0" y="0"/>
                    </a:lnTo>
                    <a:lnTo>
                      <a:pt x="0" y="302723"/>
                    </a:lnTo>
                    <a:lnTo>
                      <a:pt x="78049" y="302723"/>
                    </a:lnTo>
                    <a:lnTo>
                      <a:pt x="78049" y="119807"/>
                    </a:lnTo>
                    <a:lnTo>
                      <a:pt x="206129" y="302776"/>
                    </a:lnTo>
                    <a:lnTo>
                      <a:pt x="281478" y="302776"/>
                    </a:lnTo>
                    <a:lnTo>
                      <a:pt x="281478" y="0"/>
                    </a:lnTo>
                    <a:close/>
                  </a:path>
                </a:pathLst>
              </a:custGeom>
              <a:solidFill>
                <a:srgbClr val="FFFFFF"/>
              </a:solidFill>
            </p:spPr>
            <p:txBody>
              <a:bodyPr wrap="square" lIns="0" tIns="0" rIns="0" bIns="0" rtlCol="0"/>
              <a:lstStyle/>
              <a:p>
                <a:endParaRPr kern="0">
                  <a:solidFill>
                    <a:sysClr val="windowText" lastClr="000000"/>
                  </a:solidFill>
                </a:endParaRPr>
              </a:p>
            </p:txBody>
          </p:sp>
          <p:sp>
            <p:nvSpPr>
              <p:cNvPr id="9" name="object 28">
                <a:extLst>
                  <a:ext uri="{FF2B5EF4-FFF2-40B4-BE49-F238E27FC236}">
                    <a16:creationId xmlns:a16="http://schemas.microsoft.com/office/drawing/2014/main" id="{B635AF18-4CC2-CC54-82DA-92EE1BCEC73C}"/>
                  </a:ext>
                </a:extLst>
              </p:cNvPr>
              <p:cNvSpPr/>
              <p:nvPr/>
            </p:nvSpPr>
            <p:spPr>
              <a:xfrm>
                <a:off x="18073618" y="10356815"/>
                <a:ext cx="260985" cy="313055"/>
              </a:xfrm>
              <a:custGeom>
                <a:avLst/>
                <a:gdLst/>
                <a:ahLst/>
                <a:cxnLst/>
                <a:rect l="l" t="t" r="r" b="b"/>
                <a:pathLst>
                  <a:path w="260984" h="313054">
                    <a:moveTo>
                      <a:pt x="130289" y="0"/>
                    </a:moveTo>
                    <a:lnTo>
                      <a:pt x="78682" y="7671"/>
                    </a:lnTo>
                    <a:lnTo>
                      <a:pt x="40822" y="28360"/>
                    </a:lnTo>
                    <a:lnTo>
                      <a:pt x="17523" y="58574"/>
                    </a:lnTo>
                    <a:lnTo>
                      <a:pt x="9601" y="94824"/>
                    </a:lnTo>
                    <a:lnTo>
                      <a:pt x="21302" y="138425"/>
                    </a:lnTo>
                    <a:lnTo>
                      <a:pt x="50787" y="165184"/>
                    </a:lnTo>
                    <a:lnTo>
                      <a:pt x="89631" y="180370"/>
                    </a:lnTo>
                    <a:lnTo>
                      <a:pt x="129409" y="189250"/>
                    </a:lnTo>
                    <a:lnTo>
                      <a:pt x="151085" y="194533"/>
                    </a:lnTo>
                    <a:lnTo>
                      <a:pt x="167360" y="200784"/>
                    </a:lnTo>
                    <a:lnTo>
                      <a:pt x="177593" y="208990"/>
                    </a:lnTo>
                    <a:lnTo>
                      <a:pt x="181146" y="220139"/>
                    </a:lnTo>
                    <a:lnTo>
                      <a:pt x="178169" y="230305"/>
                    </a:lnTo>
                    <a:lnTo>
                      <a:pt x="169613" y="238518"/>
                    </a:lnTo>
                    <a:lnTo>
                      <a:pt x="156042" y="244011"/>
                    </a:lnTo>
                    <a:lnTo>
                      <a:pt x="138016" y="246013"/>
                    </a:lnTo>
                    <a:lnTo>
                      <a:pt x="108540" y="242837"/>
                    </a:lnTo>
                    <a:lnTo>
                      <a:pt x="82344" y="234216"/>
                    </a:lnTo>
                    <a:lnTo>
                      <a:pt x="59809" y="221510"/>
                    </a:lnTo>
                    <a:lnTo>
                      <a:pt x="41318" y="206025"/>
                    </a:lnTo>
                    <a:lnTo>
                      <a:pt x="0" y="264599"/>
                    </a:lnTo>
                    <a:lnTo>
                      <a:pt x="25223" y="284356"/>
                    </a:lnTo>
                    <a:lnTo>
                      <a:pt x="55622" y="299531"/>
                    </a:lnTo>
                    <a:lnTo>
                      <a:pt x="91803" y="309266"/>
                    </a:lnTo>
                    <a:lnTo>
                      <a:pt x="134372" y="312702"/>
                    </a:lnTo>
                    <a:lnTo>
                      <a:pt x="188371" y="305443"/>
                    </a:lnTo>
                    <a:lnTo>
                      <a:pt x="227945" y="284908"/>
                    </a:lnTo>
                    <a:lnTo>
                      <a:pt x="252285" y="252965"/>
                    </a:lnTo>
                    <a:lnTo>
                      <a:pt x="260578" y="211480"/>
                    </a:lnTo>
                    <a:lnTo>
                      <a:pt x="249016" y="169435"/>
                    </a:lnTo>
                    <a:lnTo>
                      <a:pt x="219837" y="142952"/>
                    </a:lnTo>
                    <a:lnTo>
                      <a:pt x="181299" y="127359"/>
                    </a:lnTo>
                    <a:lnTo>
                      <a:pt x="141660" y="117985"/>
                    </a:lnTo>
                    <a:lnTo>
                      <a:pt x="119330" y="113216"/>
                    </a:lnTo>
                    <a:lnTo>
                      <a:pt x="102966" y="107720"/>
                    </a:lnTo>
                    <a:lnTo>
                      <a:pt x="92902" y="100435"/>
                    </a:lnTo>
                    <a:lnTo>
                      <a:pt x="89473" y="90300"/>
                    </a:lnTo>
                    <a:lnTo>
                      <a:pt x="91313" y="81050"/>
                    </a:lnTo>
                    <a:lnTo>
                      <a:pt x="97367" y="73551"/>
                    </a:lnTo>
                    <a:lnTo>
                      <a:pt x="108437" y="68524"/>
                    </a:lnTo>
                    <a:lnTo>
                      <a:pt x="125326" y="66689"/>
                    </a:lnTo>
                    <a:lnTo>
                      <a:pt x="146369" y="68645"/>
                    </a:lnTo>
                    <a:lnTo>
                      <a:pt x="168489" y="74516"/>
                    </a:lnTo>
                    <a:lnTo>
                      <a:pt x="190362" y="84305"/>
                    </a:lnTo>
                    <a:lnTo>
                      <a:pt x="210663" y="98017"/>
                    </a:lnTo>
                    <a:lnTo>
                      <a:pt x="253301" y="42197"/>
                    </a:lnTo>
                    <a:lnTo>
                      <a:pt x="227314" y="23920"/>
                    </a:lnTo>
                    <a:lnTo>
                      <a:pt x="197916" y="10713"/>
                    </a:lnTo>
                    <a:lnTo>
                      <a:pt x="165458" y="2698"/>
                    </a:lnTo>
                    <a:lnTo>
                      <a:pt x="130289" y="0"/>
                    </a:lnTo>
                    <a:close/>
                  </a:path>
                </a:pathLst>
              </a:custGeom>
              <a:solidFill>
                <a:srgbClr val="00BFFF"/>
              </a:solidFill>
            </p:spPr>
            <p:txBody>
              <a:bodyPr wrap="square" lIns="0" tIns="0" rIns="0" bIns="0" rtlCol="0"/>
              <a:lstStyle/>
              <a:p>
                <a:endParaRPr kern="0">
                  <a:solidFill>
                    <a:sysClr val="windowText" lastClr="000000"/>
                  </a:solidFill>
                </a:endParaRPr>
              </a:p>
            </p:txBody>
          </p:sp>
        </p:grpSp>
        <p:sp>
          <p:nvSpPr>
            <p:cNvPr id="7" name="object 29">
              <a:extLst>
                <a:ext uri="{FF2B5EF4-FFF2-40B4-BE49-F238E27FC236}">
                  <a16:creationId xmlns:a16="http://schemas.microsoft.com/office/drawing/2014/main" id="{C53A9C9E-E2DC-425D-FE8F-23FEE72C64A4}"/>
                </a:ext>
              </a:extLst>
            </p:cNvPr>
            <p:cNvSpPr/>
            <p:nvPr/>
          </p:nvSpPr>
          <p:spPr>
            <a:xfrm>
              <a:off x="11126915" y="6279572"/>
              <a:ext cx="336097" cy="190186"/>
            </a:xfrm>
            <a:custGeom>
              <a:avLst/>
              <a:gdLst/>
              <a:ahLst/>
              <a:cxnLst/>
              <a:rect l="l" t="t" r="r" b="b"/>
              <a:pathLst>
                <a:path w="554355" h="313690">
                  <a:moveTo>
                    <a:pt x="247383" y="4508"/>
                  </a:moveTo>
                  <a:lnTo>
                    <a:pt x="0" y="4508"/>
                  </a:lnTo>
                  <a:lnTo>
                    <a:pt x="0" y="73088"/>
                  </a:lnTo>
                  <a:lnTo>
                    <a:pt x="84886" y="73088"/>
                  </a:lnTo>
                  <a:lnTo>
                    <a:pt x="84886" y="308038"/>
                  </a:lnTo>
                  <a:lnTo>
                    <a:pt x="162928" y="308038"/>
                  </a:lnTo>
                  <a:lnTo>
                    <a:pt x="162928" y="73088"/>
                  </a:lnTo>
                  <a:lnTo>
                    <a:pt x="247383" y="73088"/>
                  </a:lnTo>
                  <a:lnTo>
                    <a:pt x="247383" y="4508"/>
                  </a:lnTo>
                  <a:close/>
                </a:path>
                <a:path w="554355" h="313690">
                  <a:moveTo>
                    <a:pt x="554139" y="81254"/>
                  </a:moveTo>
                  <a:lnTo>
                    <a:pt x="535305" y="51714"/>
                  </a:lnTo>
                  <a:lnTo>
                    <a:pt x="507720" y="25654"/>
                  </a:lnTo>
                  <a:lnTo>
                    <a:pt x="469734" y="7086"/>
                  </a:lnTo>
                  <a:lnTo>
                    <a:pt x="419760" y="0"/>
                  </a:lnTo>
                  <a:lnTo>
                    <a:pt x="368109" y="7315"/>
                  </a:lnTo>
                  <a:lnTo>
                    <a:pt x="323684" y="28206"/>
                  </a:lnTo>
                  <a:lnTo>
                    <a:pt x="288937" y="61087"/>
                  </a:lnTo>
                  <a:lnTo>
                    <a:pt x="266293" y="104419"/>
                  </a:lnTo>
                  <a:lnTo>
                    <a:pt x="258191" y="156603"/>
                  </a:lnTo>
                  <a:lnTo>
                    <a:pt x="266280" y="208622"/>
                  </a:lnTo>
                  <a:lnTo>
                    <a:pt x="288912" y="251929"/>
                  </a:lnTo>
                  <a:lnTo>
                    <a:pt x="323672" y="284886"/>
                  </a:lnTo>
                  <a:lnTo>
                    <a:pt x="368096" y="305854"/>
                  </a:lnTo>
                  <a:lnTo>
                    <a:pt x="419760" y="313207"/>
                  </a:lnTo>
                  <a:lnTo>
                    <a:pt x="469798" y="306006"/>
                  </a:lnTo>
                  <a:lnTo>
                    <a:pt x="507885" y="287223"/>
                  </a:lnTo>
                  <a:lnTo>
                    <a:pt x="535495" y="261124"/>
                  </a:lnTo>
                  <a:lnTo>
                    <a:pt x="554139" y="231952"/>
                  </a:lnTo>
                  <a:lnTo>
                    <a:pt x="486943" y="200190"/>
                  </a:lnTo>
                  <a:lnTo>
                    <a:pt x="476643" y="217208"/>
                  </a:lnTo>
                  <a:lnTo>
                    <a:pt x="461352" y="231216"/>
                  </a:lnTo>
                  <a:lnTo>
                    <a:pt x="442074" y="240703"/>
                  </a:lnTo>
                  <a:lnTo>
                    <a:pt x="419760" y="244208"/>
                  </a:lnTo>
                  <a:lnTo>
                    <a:pt x="387032" y="237477"/>
                  </a:lnTo>
                  <a:lnTo>
                    <a:pt x="361010" y="218960"/>
                  </a:lnTo>
                  <a:lnTo>
                    <a:pt x="343827" y="191160"/>
                  </a:lnTo>
                  <a:lnTo>
                    <a:pt x="337629" y="156603"/>
                  </a:lnTo>
                  <a:lnTo>
                    <a:pt x="343827" y="122047"/>
                  </a:lnTo>
                  <a:lnTo>
                    <a:pt x="360984" y="94246"/>
                  </a:lnTo>
                  <a:lnTo>
                    <a:pt x="387007" y="75730"/>
                  </a:lnTo>
                  <a:lnTo>
                    <a:pt x="419760" y="69011"/>
                  </a:lnTo>
                  <a:lnTo>
                    <a:pt x="442074" y="72504"/>
                  </a:lnTo>
                  <a:lnTo>
                    <a:pt x="461352" y="81991"/>
                  </a:lnTo>
                  <a:lnTo>
                    <a:pt x="476643" y="95999"/>
                  </a:lnTo>
                  <a:lnTo>
                    <a:pt x="486943" y="113030"/>
                  </a:lnTo>
                  <a:lnTo>
                    <a:pt x="554139" y="81254"/>
                  </a:lnTo>
                  <a:close/>
                </a:path>
              </a:pathLst>
            </a:custGeom>
            <a:solidFill>
              <a:srgbClr val="FFFFFF"/>
            </a:solidFill>
          </p:spPr>
          <p:txBody>
            <a:bodyPr wrap="square" lIns="0" tIns="0" rIns="0" bIns="0" rtlCol="0"/>
            <a:lstStyle/>
            <a:p>
              <a:endParaRPr kern="0">
                <a:solidFill>
                  <a:sysClr val="windowText" lastClr="000000"/>
                </a:solidFill>
              </a:endParaRPr>
            </a:p>
          </p:txBody>
        </p:sp>
      </p:grpSp>
    </p:spTree>
    <p:extLst>
      <p:ext uri="{BB962C8B-B14F-4D97-AF65-F5344CB8AC3E}">
        <p14:creationId xmlns:p14="http://schemas.microsoft.com/office/powerpoint/2010/main" val="30733308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3_Tech Background Image">
    <p:bg>
      <p:bgPr>
        <a:solidFill>
          <a:schemeClr val="accent1"/>
        </a:solidFill>
        <a:effectLst/>
      </p:bgPr>
    </p:bg>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29D9B89B-6C49-FE14-4CC5-06BF022C9EFD}"/>
              </a:ext>
            </a:extLst>
          </p:cNvPr>
          <p:cNvPicPr>
            <a:picLocks noChangeAspect="1" noChangeArrowheads="1"/>
          </p:cNvPicPr>
          <p:nvPr userDrawn="1"/>
        </p:nvPicPr>
        <p:blipFill rotWithShape="1">
          <a:blip r:embed="rId2">
            <a:alphaModFix amt="25000"/>
            <a:extLst>
              <a:ext uri="{28A0092B-C50C-407E-A947-70E740481C1C}">
                <a14:useLocalDpi xmlns:a14="http://schemas.microsoft.com/office/drawing/2010/main" val="0"/>
              </a:ext>
            </a:extLst>
          </a:blip>
          <a:srcRect l="10754" t="14777" r="10573" b="6513"/>
          <a:stretch/>
        </p:blipFill>
        <p:spPr bwMode="auto">
          <a:xfrm>
            <a:off x="1588" y="0"/>
            <a:ext cx="12188824" cy="6858000"/>
          </a:xfrm>
          <a:prstGeom prst="rect">
            <a:avLst/>
          </a:prstGeom>
          <a:noFill/>
          <a:extLst>
            <a:ext uri="{909E8E84-426E-40DD-AFC4-6F175D3DCCD1}">
              <a14:hiddenFill xmlns:a14="http://schemas.microsoft.com/office/drawing/2010/main">
                <a:solidFill>
                  <a:srgbClr val="FFFFFF"/>
                </a:solidFill>
              </a14:hiddenFill>
            </a:ext>
          </a:extLst>
        </p:spPr>
      </p:pic>
      <p:pic>
        <p:nvPicPr>
          <p:cNvPr id="7" name="object 6">
            <a:extLst>
              <a:ext uri="{FF2B5EF4-FFF2-40B4-BE49-F238E27FC236}">
                <a16:creationId xmlns:a16="http://schemas.microsoft.com/office/drawing/2014/main" id="{AE39237E-7A8D-CC3A-789F-2C0F7108819C}"/>
              </a:ext>
            </a:extLst>
          </p:cNvPr>
          <p:cNvPicPr/>
          <p:nvPr userDrawn="1"/>
        </p:nvPicPr>
        <p:blipFill>
          <a:blip r:embed="rId3" cstate="print">
            <a:alphaModFix amt="15000"/>
          </a:blip>
          <a:stretch>
            <a:fillRect/>
          </a:stretch>
        </p:blipFill>
        <p:spPr>
          <a:xfrm>
            <a:off x="0" y="0"/>
            <a:ext cx="12344400" cy="7009507"/>
          </a:xfrm>
          <a:prstGeom prst="rect">
            <a:avLst/>
          </a:prstGeom>
        </p:spPr>
      </p:pic>
      <p:pic>
        <p:nvPicPr>
          <p:cNvPr id="6" name="object 6">
            <a:extLst>
              <a:ext uri="{FF2B5EF4-FFF2-40B4-BE49-F238E27FC236}">
                <a16:creationId xmlns:a16="http://schemas.microsoft.com/office/drawing/2014/main" id="{9708983F-1698-E50D-7FA5-483DE66E4A6A}"/>
              </a:ext>
            </a:extLst>
          </p:cNvPr>
          <p:cNvPicPr/>
          <p:nvPr userDrawn="1"/>
        </p:nvPicPr>
        <p:blipFill>
          <a:blip r:embed="rId3" cstate="print">
            <a:alphaModFix amt="15000"/>
          </a:blip>
          <a:stretch>
            <a:fillRect/>
          </a:stretch>
        </p:blipFill>
        <p:spPr>
          <a:xfrm>
            <a:off x="0" y="1786"/>
            <a:ext cx="12188824" cy="6856214"/>
          </a:xfrm>
          <a:prstGeom prst="rect">
            <a:avLst/>
          </a:prstGeom>
        </p:spPr>
      </p:pic>
      <p:sp>
        <p:nvSpPr>
          <p:cNvPr id="2" name="Title 1">
            <a:extLst>
              <a:ext uri="{FF2B5EF4-FFF2-40B4-BE49-F238E27FC236}">
                <a16:creationId xmlns:a16="http://schemas.microsoft.com/office/drawing/2014/main" id="{8B7410AC-AD64-E7AB-9C75-4011FECA552E}"/>
              </a:ext>
            </a:extLst>
          </p:cNvPr>
          <p:cNvSpPr>
            <a:spLocks noGrp="1"/>
          </p:cNvSpPr>
          <p:nvPr>
            <p:ph type="title"/>
          </p:nvPr>
        </p:nvSpPr>
        <p:spPr/>
        <p:txBody>
          <a:bodyPr anchor="ct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5F0C5D14-38AD-28B4-69C1-23A1DC77784E}"/>
              </a:ext>
            </a:extLst>
          </p:cNvPr>
          <p:cNvSpPr>
            <a:spLocks noGrp="1"/>
          </p:cNvSpPr>
          <p:nvPr>
            <p:ph type="dt" sz="half" idx="10"/>
          </p:nvPr>
        </p:nvSpPr>
        <p:spPr/>
        <p:txBody>
          <a:bodyPr/>
          <a:lstStyle/>
          <a:p>
            <a:fld id="{9A5D80D6-DF3C-4908-938F-A45E5DC17A7C}" type="datetime1">
              <a:rPr lang="en-US" smtClean="0"/>
              <a:t>4/2/2025</a:t>
            </a:fld>
            <a:endParaRPr lang="en-US"/>
          </a:p>
        </p:txBody>
      </p:sp>
      <p:sp>
        <p:nvSpPr>
          <p:cNvPr id="4" name="Footer Placeholder 3">
            <a:extLst>
              <a:ext uri="{FF2B5EF4-FFF2-40B4-BE49-F238E27FC236}">
                <a16:creationId xmlns:a16="http://schemas.microsoft.com/office/drawing/2014/main" id="{EA640E17-A7E4-A9D8-6E13-2A5E89BB1703}"/>
              </a:ext>
            </a:extLst>
          </p:cNvPr>
          <p:cNvSpPr>
            <a:spLocks noGrp="1"/>
          </p:cNvSpPr>
          <p:nvPr>
            <p:ph type="ftr" sz="quarter" idx="11"/>
          </p:nvPr>
        </p:nvSpPr>
        <p:spPr/>
        <p:txBody>
          <a:bodyPr/>
          <a:lstStyle/>
          <a:p>
            <a:endParaRPr lang="en-US"/>
          </a:p>
        </p:txBody>
      </p:sp>
      <p:grpSp>
        <p:nvGrpSpPr>
          <p:cNvPr id="8" name="Group 7">
            <a:extLst>
              <a:ext uri="{FF2B5EF4-FFF2-40B4-BE49-F238E27FC236}">
                <a16:creationId xmlns:a16="http://schemas.microsoft.com/office/drawing/2014/main" id="{D6CE1E7A-3428-36E9-FA53-F688D3FC6F4A}"/>
              </a:ext>
            </a:extLst>
          </p:cNvPr>
          <p:cNvGrpSpPr/>
          <p:nvPr userDrawn="1"/>
        </p:nvGrpSpPr>
        <p:grpSpPr>
          <a:xfrm>
            <a:off x="10768672" y="6279572"/>
            <a:ext cx="694340" cy="190186"/>
            <a:chOff x="10768672" y="6279572"/>
            <a:chExt cx="694340" cy="190186"/>
          </a:xfrm>
        </p:grpSpPr>
        <p:grpSp>
          <p:nvGrpSpPr>
            <p:cNvPr id="28" name="object 26">
              <a:extLst>
                <a:ext uri="{FF2B5EF4-FFF2-40B4-BE49-F238E27FC236}">
                  <a16:creationId xmlns:a16="http://schemas.microsoft.com/office/drawing/2014/main" id="{6AB3E3C2-3A85-3D67-B3EE-92BF653D8BBD}"/>
                </a:ext>
              </a:extLst>
            </p:cNvPr>
            <p:cNvGrpSpPr/>
            <p:nvPr/>
          </p:nvGrpSpPr>
          <p:grpSpPr>
            <a:xfrm>
              <a:off x="10768672" y="6279841"/>
              <a:ext cx="348802" cy="189801"/>
              <a:chOff x="17759098" y="10356815"/>
              <a:chExt cx="575310" cy="313055"/>
            </a:xfrm>
          </p:grpSpPr>
          <p:sp>
            <p:nvSpPr>
              <p:cNvPr id="30" name="object 27">
                <a:extLst>
                  <a:ext uri="{FF2B5EF4-FFF2-40B4-BE49-F238E27FC236}">
                    <a16:creationId xmlns:a16="http://schemas.microsoft.com/office/drawing/2014/main" id="{A322E5FC-8278-6F3B-2CE3-548A3BAC34D0}"/>
                  </a:ext>
                </a:extLst>
              </p:cNvPr>
              <p:cNvSpPr/>
              <p:nvPr/>
            </p:nvSpPr>
            <p:spPr>
              <a:xfrm>
                <a:off x="17759098" y="10361392"/>
                <a:ext cx="281940" cy="302895"/>
              </a:xfrm>
              <a:custGeom>
                <a:avLst/>
                <a:gdLst/>
                <a:ahLst/>
                <a:cxnLst/>
                <a:rect l="l" t="t" r="r" b="b"/>
                <a:pathLst>
                  <a:path w="281940" h="302895">
                    <a:moveTo>
                      <a:pt x="281478" y="0"/>
                    </a:moveTo>
                    <a:lnTo>
                      <a:pt x="202936" y="0"/>
                    </a:lnTo>
                    <a:lnTo>
                      <a:pt x="202936" y="174308"/>
                    </a:lnTo>
                    <a:lnTo>
                      <a:pt x="80364" y="0"/>
                    </a:lnTo>
                    <a:lnTo>
                      <a:pt x="0" y="0"/>
                    </a:lnTo>
                    <a:lnTo>
                      <a:pt x="0" y="302723"/>
                    </a:lnTo>
                    <a:lnTo>
                      <a:pt x="78049" y="302723"/>
                    </a:lnTo>
                    <a:lnTo>
                      <a:pt x="78049" y="119807"/>
                    </a:lnTo>
                    <a:lnTo>
                      <a:pt x="206129" y="302776"/>
                    </a:lnTo>
                    <a:lnTo>
                      <a:pt x="281478" y="302776"/>
                    </a:lnTo>
                    <a:lnTo>
                      <a:pt x="281478" y="0"/>
                    </a:lnTo>
                    <a:close/>
                  </a:path>
                </a:pathLst>
              </a:custGeom>
              <a:solidFill>
                <a:srgbClr val="FFFFFF"/>
              </a:solidFill>
            </p:spPr>
            <p:txBody>
              <a:bodyPr wrap="square" lIns="0" tIns="0" rIns="0" bIns="0" rtlCol="0"/>
              <a:lstStyle/>
              <a:p>
                <a:endParaRPr kern="0">
                  <a:solidFill>
                    <a:sysClr val="windowText" lastClr="000000"/>
                  </a:solidFill>
                </a:endParaRPr>
              </a:p>
            </p:txBody>
          </p:sp>
          <p:sp>
            <p:nvSpPr>
              <p:cNvPr id="31" name="object 28">
                <a:extLst>
                  <a:ext uri="{FF2B5EF4-FFF2-40B4-BE49-F238E27FC236}">
                    <a16:creationId xmlns:a16="http://schemas.microsoft.com/office/drawing/2014/main" id="{600829DD-9086-B237-9043-CD21DF068AC6}"/>
                  </a:ext>
                </a:extLst>
              </p:cNvPr>
              <p:cNvSpPr/>
              <p:nvPr/>
            </p:nvSpPr>
            <p:spPr>
              <a:xfrm>
                <a:off x="18073618" y="10356815"/>
                <a:ext cx="260985" cy="313055"/>
              </a:xfrm>
              <a:custGeom>
                <a:avLst/>
                <a:gdLst/>
                <a:ahLst/>
                <a:cxnLst/>
                <a:rect l="l" t="t" r="r" b="b"/>
                <a:pathLst>
                  <a:path w="260984" h="313054">
                    <a:moveTo>
                      <a:pt x="130289" y="0"/>
                    </a:moveTo>
                    <a:lnTo>
                      <a:pt x="78682" y="7671"/>
                    </a:lnTo>
                    <a:lnTo>
                      <a:pt x="40822" y="28360"/>
                    </a:lnTo>
                    <a:lnTo>
                      <a:pt x="17523" y="58574"/>
                    </a:lnTo>
                    <a:lnTo>
                      <a:pt x="9601" y="94824"/>
                    </a:lnTo>
                    <a:lnTo>
                      <a:pt x="21302" y="138425"/>
                    </a:lnTo>
                    <a:lnTo>
                      <a:pt x="50787" y="165184"/>
                    </a:lnTo>
                    <a:lnTo>
                      <a:pt x="89631" y="180370"/>
                    </a:lnTo>
                    <a:lnTo>
                      <a:pt x="129409" y="189250"/>
                    </a:lnTo>
                    <a:lnTo>
                      <a:pt x="151085" y="194533"/>
                    </a:lnTo>
                    <a:lnTo>
                      <a:pt x="167360" y="200784"/>
                    </a:lnTo>
                    <a:lnTo>
                      <a:pt x="177593" y="208990"/>
                    </a:lnTo>
                    <a:lnTo>
                      <a:pt x="181146" y="220139"/>
                    </a:lnTo>
                    <a:lnTo>
                      <a:pt x="178169" y="230305"/>
                    </a:lnTo>
                    <a:lnTo>
                      <a:pt x="169613" y="238518"/>
                    </a:lnTo>
                    <a:lnTo>
                      <a:pt x="156042" y="244011"/>
                    </a:lnTo>
                    <a:lnTo>
                      <a:pt x="138016" y="246013"/>
                    </a:lnTo>
                    <a:lnTo>
                      <a:pt x="108540" y="242837"/>
                    </a:lnTo>
                    <a:lnTo>
                      <a:pt x="82344" y="234216"/>
                    </a:lnTo>
                    <a:lnTo>
                      <a:pt x="59809" y="221510"/>
                    </a:lnTo>
                    <a:lnTo>
                      <a:pt x="41318" y="206025"/>
                    </a:lnTo>
                    <a:lnTo>
                      <a:pt x="0" y="264599"/>
                    </a:lnTo>
                    <a:lnTo>
                      <a:pt x="25223" y="284356"/>
                    </a:lnTo>
                    <a:lnTo>
                      <a:pt x="55622" y="299531"/>
                    </a:lnTo>
                    <a:lnTo>
                      <a:pt x="91803" y="309266"/>
                    </a:lnTo>
                    <a:lnTo>
                      <a:pt x="134372" y="312702"/>
                    </a:lnTo>
                    <a:lnTo>
                      <a:pt x="188371" y="305443"/>
                    </a:lnTo>
                    <a:lnTo>
                      <a:pt x="227945" y="284908"/>
                    </a:lnTo>
                    <a:lnTo>
                      <a:pt x="252285" y="252965"/>
                    </a:lnTo>
                    <a:lnTo>
                      <a:pt x="260578" y="211480"/>
                    </a:lnTo>
                    <a:lnTo>
                      <a:pt x="249016" y="169435"/>
                    </a:lnTo>
                    <a:lnTo>
                      <a:pt x="219837" y="142952"/>
                    </a:lnTo>
                    <a:lnTo>
                      <a:pt x="181299" y="127359"/>
                    </a:lnTo>
                    <a:lnTo>
                      <a:pt x="141660" y="117985"/>
                    </a:lnTo>
                    <a:lnTo>
                      <a:pt x="119330" y="113216"/>
                    </a:lnTo>
                    <a:lnTo>
                      <a:pt x="102966" y="107720"/>
                    </a:lnTo>
                    <a:lnTo>
                      <a:pt x="92902" y="100435"/>
                    </a:lnTo>
                    <a:lnTo>
                      <a:pt x="89473" y="90300"/>
                    </a:lnTo>
                    <a:lnTo>
                      <a:pt x="91313" y="81050"/>
                    </a:lnTo>
                    <a:lnTo>
                      <a:pt x="97367" y="73551"/>
                    </a:lnTo>
                    <a:lnTo>
                      <a:pt x="108437" y="68524"/>
                    </a:lnTo>
                    <a:lnTo>
                      <a:pt x="125326" y="66689"/>
                    </a:lnTo>
                    <a:lnTo>
                      <a:pt x="146369" y="68645"/>
                    </a:lnTo>
                    <a:lnTo>
                      <a:pt x="168489" y="74516"/>
                    </a:lnTo>
                    <a:lnTo>
                      <a:pt x="190362" y="84305"/>
                    </a:lnTo>
                    <a:lnTo>
                      <a:pt x="210663" y="98017"/>
                    </a:lnTo>
                    <a:lnTo>
                      <a:pt x="253301" y="42197"/>
                    </a:lnTo>
                    <a:lnTo>
                      <a:pt x="227314" y="23920"/>
                    </a:lnTo>
                    <a:lnTo>
                      <a:pt x="197916" y="10713"/>
                    </a:lnTo>
                    <a:lnTo>
                      <a:pt x="165458" y="2698"/>
                    </a:lnTo>
                    <a:lnTo>
                      <a:pt x="130289" y="0"/>
                    </a:lnTo>
                    <a:close/>
                  </a:path>
                </a:pathLst>
              </a:custGeom>
              <a:solidFill>
                <a:srgbClr val="00BFFF"/>
              </a:solidFill>
            </p:spPr>
            <p:txBody>
              <a:bodyPr wrap="square" lIns="0" tIns="0" rIns="0" bIns="0" rtlCol="0"/>
              <a:lstStyle/>
              <a:p>
                <a:endParaRPr kern="0">
                  <a:solidFill>
                    <a:sysClr val="windowText" lastClr="000000"/>
                  </a:solidFill>
                </a:endParaRPr>
              </a:p>
            </p:txBody>
          </p:sp>
        </p:grpSp>
        <p:sp>
          <p:nvSpPr>
            <p:cNvPr id="29" name="object 29">
              <a:extLst>
                <a:ext uri="{FF2B5EF4-FFF2-40B4-BE49-F238E27FC236}">
                  <a16:creationId xmlns:a16="http://schemas.microsoft.com/office/drawing/2014/main" id="{F1927882-DC01-2399-5157-5C60F5A7D909}"/>
                </a:ext>
              </a:extLst>
            </p:cNvPr>
            <p:cNvSpPr/>
            <p:nvPr/>
          </p:nvSpPr>
          <p:spPr>
            <a:xfrm>
              <a:off x="11126915" y="6279572"/>
              <a:ext cx="336097" cy="190186"/>
            </a:xfrm>
            <a:custGeom>
              <a:avLst/>
              <a:gdLst/>
              <a:ahLst/>
              <a:cxnLst/>
              <a:rect l="l" t="t" r="r" b="b"/>
              <a:pathLst>
                <a:path w="554355" h="313690">
                  <a:moveTo>
                    <a:pt x="247383" y="4508"/>
                  </a:moveTo>
                  <a:lnTo>
                    <a:pt x="0" y="4508"/>
                  </a:lnTo>
                  <a:lnTo>
                    <a:pt x="0" y="73088"/>
                  </a:lnTo>
                  <a:lnTo>
                    <a:pt x="84886" y="73088"/>
                  </a:lnTo>
                  <a:lnTo>
                    <a:pt x="84886" y="308038"/>
                  </a:lnTo>
                  <a:lnTo>
                    <a:pt x="162928" y="308038"/>
                  </a:lnTo>
                  <a:lnTo>
                    <a:pt x="162928" y="73088"/>
                  </a:lnTo>
                  <a:lnTo>
                    <a:pt x="247383" y="73088"/>
                  </a:lnTo>
                  <a:lnTo>
                    <a:pt x="247383" y="4508"/>
                  </a:lnTo>
                  <a:close/>
                </a:path>
                <a:path w="554355" h="313690">
                  <a:moveTo>
                    <a:pt x="554139" y="81254"/>
                  </a:moveTo>
                  <a:lnTo>
                    <a:pt x="535305" y="51714"/>
                  </a:lnTo>
                  <a:lnTo>
                    <a:pt x="507720" y="25654"/>
                  </a:lnTo>
                  <a:lnTo>
                    <a:pt x="469734" y="7086"/>
                  </a:lnTo>
                  <a:lnTo>
                    <a:pt x="419760" y="0"/>
                  </a:lnTo>
                  <a:lnTo>
                    <a:pt x="368109" y="7315"/>
                  </a:lnTo>
                  <a:lnTo>
                    <a:pt x="323684" y="28206"/>
                  </a:lnTo>
                  <a:lnTo>
                    <a:pt x="288937" y="61087"/>
                  </a:lnTo>
                  <a:lnTo>
                    <a:pt x="266293" y="104419"/>
                  </a:lnTo>
                  <a:lnTo>
                    <a:pt x="258191" y="156603"/>
                  </a:lnTo>
                  <a:lnTo>
                    <a:pt x="266280" y="208622"/>
                  </a:lnTo>
                  <a:lnTo>
                    <a:pt x="288912" y="251929"/>
                  </a:lnTo>
                  <a:lnTo>
                    <a:pt x="323672" y="284886"/>
                  </a:lnTo>
                  <a:lnTo>
                    <a:pt x="368096" y="305854"/>
                  </a:lnTo>
                  <a:lnTo>
                    <a:pt x="419760" y="313207"/>
                  </a:lnTo>
                  <a:lnTo>
                    <a:pt x="469798" y="306006"/>
                  </a:lnTo>
                  <a:lnTo>
                    <a:pt x="507885" y="287223"/>
                  </a:lnTo>
                  <a:lnTo>
                    <a:pt x="535495" y="261124"/>
                  </a:lnTo>
                  <a:lnTo>
                    <a:pt x="554139" y="231952"/>
                  </a:lnTo>
                  <a:lnTo>
                    <a:pt x="486943" y="200190"/>
                  </a:lnTo>
                  <a:lnTo>
                    <a:pt x="476643" y="217208"/>
                  </a:lnTo>
                  <a:lnTo>
                    <a:pt x="461352" y="231216"/>
                  </a:lnTo>
                  <a:lnTo>
                    <a:pt x="442074" y="240703"/>
                  </a:lnTo>
                  <a:lnTo>
                    <a:pt x="419760" y="244208"/>
                  </a:lnTo>
                  <a:lnTo>
                    <a:pt x="387032" y="237477"/>
                  </a:lnTo>
                  <a:lnTo>
                    <a:pt x="361010" y="218960"/>
                  </a:lnTo>
                  <a:lnTo>
                    <a:pt x="343827" y="191160"/>
                  </a:lnTo>
                  <a:lnTo>
                    <a:pt x="337629" y="156603"/>
                  </a:lnTo>
                  <a:lnTo>
                    <a:pt x="343827" y="122047"/>
                  </a:lnTo>
                  <a:lnTo>
                    <a:pt x="360984" y="94246"/>
                  </a:lnTo>
                  <a:lnTo>
                    <a:pt x="387007" y="75730"/>
                  </a:lnTo>
                  <a:lnTo>
                    <a:pt x="419760" y="69011"/>
                  </a:lnTo>
                  <a:lnTo>
                    <a:pt x="442074" y="72504"/>
                  </a:lnTo>
                  <a:lnTo>
                    <a:pt x="461352" y="81991"/>
                  </a:lnTo>
                  <a:lnTo>
                    <a:pt x="476643" y="95999"/>
                  </a:lnTo>
                  <a:lnTo>
                    <a:pt x="486943" y="113030"/>
                  </a:lnTo>
                  <a:lnTo>
                    <a:pt x="554139" y="81254"/>
                  </a:lnTo>
                  <a:close/>
                </a:path>
              </a:pathLst>
            </a:custGeom>
            <a:solidFill>
              <a:srgbClr val="FFFFFF"/>
            </a:solidFill>
          </p:spPr>
          <p:txBody>
            <a:bodyPr wrap="square" lIns="0" tIns="0" rIns="0" bIns="0" rtlCol="0"/>
            <a:lstStyle/>
            <a:p>
              <a:endParaRPr kern="0">
                <a:solidFill>
                  <a:sysClr val="windowText" lastClr="000000"/>
                </a:solidFill>
              </a:endParaRPr>
            </a:p>
          </p:txBody>
        </p:sp>
      </p:grpSp>
    </p:spTree>
    <p:extLst>
      <p:ext uri="{BB962C8B-B14F-4D97-AF65-F5344CB8AC3E}">
        <p14:creationId xmlns:p14="http://schemas.microsoft.com/office/powerpoint/2010/main" val="20690615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Title and Eyebrow with graphic ">
    <p:bg>
      <p:bgPr>
        <a:solidFill>
          <a:schemeClr val="accent5"/>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C16F05C-4BB9-7C82-C709-68EA2F74B897}"/>
              </a:ext>
            </a:extLst>
          </p:cNvPr>
          <p:cNvSpPr>
            <a:spLocks noGrp="1"/>
          </p:cNvSpPr>
          <p:nvPr>
            <p:ph type="dt" sz="half" idx="10"/>
          </p:nvPr>
        </p:nvSpPr>
        <p:spPr/>
        <p:txBody>
          <a:bodyPr/>
          <a:lstStyle/>
          <a:p>
            <a:fld id="{538BA0BE-9994-4243-B399-F1EA7335824C}" type="datetime1">
              <a:rPr lang="en-US" smtClean="0"/>
              <a:t>4/2/2025</a:t>
            </a:fld>
            <a:endParaRPr lang="en-US"/>
          </a:p>
        </p:txBody>
      </p:sp>
      <p:sp>
        <p:nvSpPr>
          <p:cNvPr id="4" name="Footer Placeholder 3">
            <a:extLst>
              <a:ext uri="{FF2B5EF4-FFF2-40B4-BE49-F238E27FC236}">
                <a16:creationId xmlns:a16="http://schemas.microsoft.com/office/drawing/2014/main" id="{B562C211-B566-11DA-A38D-906051586563}"/>
              </a:ext>
            </a:extLst>
          </p:cNvPr>
          <p:cNvSpPr>
            <a:spLocks noGrp="1"/>
          </p:cNvSpPr>
          <p:nvPr>
            <p:ph type="ftr" sz="quarter" idx="11"/>
          </p:nvPr>
        </p:nvSpPr>
        <p:spPr/>
        <p:txBody>
          <a:bodyPr/>
          <a:lstStyle/>
          <a:p>
            <a:endParaRPr lang="en-US"/>
          </a:p>
        </p:txBody>
      </p:sp>
      <p:sp>
        <p:nvSpPr>
          <p:cNvPr id="6" name="object 24">
            <a:extLst>
              <a:ext uri="{FF2B5EF4-FFF2-40B4-BE49-F238E27FC236}">
                <a16:creationId xmlns:a16="http://schemas.microsoft.com/office/drawing/2014/main" id="{E5F920B2-E5F2-B5E1-9A23-2C5EE88B6F55}"/>
              </a:ext>
            </a:extLst>
          </p:cNvPr>
          <p:cNvSpPr/>
          <p:nvPr userDrawn="1"/>
        </p:nvSpPr>
        <p:spPr>
          <a:xfrm>
            <a:off x="1588" y="343463"/>
            <a:ext cx="152457" cy="6170641"/>
          </a:xfrm>
          <a:custGeom>
            <a:avLst/>
            <a:gdLst/>
            <a:ahLst/>
            <a:cxnLst/>
            <a:rect l="l" t="t" r="r" b="b"/>
            <a:pathLst>
              <a:path w="251460" h="10177780">
                <a:moveTo>
                  <a:pt x="251301" y="0"/>
                </a:moveTo>
                <a:lnTo>
                  <a:pt x="0" y="0"/>
                </a:lnTo>
                <a:lnTo>
                  <a:pt x="0" y="10177700"/>
                </a:lnTo>
                <a:lnTo>
                  <a:pt x="251301" y="10177700"/>
                </a:lnTo>
                <a:lnTo>
                  <a:pt x="251301" y="0"/>
                </a:lnTo>
                <a:close/>
              </a:path>
            </a:pathLst>
          </a:custGeom>
          <a:solidFill>
            <a:schemeClr val="tx2"/>
          </a:solidFill>
        </p:spPr>
        <p:txBody>
          <a:bodyPr wrap="square" lIns="0" tIns="0" rIns="0" bIns="0" rtlCol="0"/>
          <a:lstStyle/>
          <a:p>
            <a:endParaRPr kern="0">
              <a:solidFill>
                <a:sysClr val="windowText" lastClr="000000"/>
              </a:solidFill>
            </a:endParaRPr>
          </a:p>
        </p:txBody>
      </p:sp>
      <p:sp>
        <p:nvSpPr>
          <p:cNvPr id="7" name="Text Placeholder 32">
            <a:extLst>
              <a:ext uri="{FF2B5EF4-FFF2-40B4-BE49-F238E27FC236}">
                <a16:creationId xmlns:a16="http://schemas.microsoft.com/office/drawing/2014/main" id="{76176889-EC90-7074-D8BD-FB8FBFBCB343}"/>
              </a:ext>
            </a:extLst>
          </p:cNvPr>
          <p:cNvSpPr>
            <a:spLocks noGrp="1"/>
          </p:cNvSpPr>
          <p:nvPr>
            <p:ph type="body" sz="quarter" idx="14" hasCustomPrompt="1"/>
          </p:nvPr>
        </p:nvSpPr>
        <p:spPr>
          <a:xfrm>
            <a:off x="763623" y="789856"/>
            <a:ext cx="10972800" cy="457200"/>
          </a:xfrm>
        </p:spPr>
        <p:txBody>
          <a:bodyPr anchor="b"/>
          <a:lstStyle>
            <a:lvl1pPr marL="0" indent="0">
              <a:spcBef>
                <a:spcPts val="0"/>
              </a:spcBef>
              <a:buNone/>
              <a:defRPr sz="3150">
                <a:solidFill>
                  <a:schemeClr val="tx2"/>
                </a:solidFill>
                <a:latin typeface="+mj-lt"/>
              </a:defRPr>
            </a:lvl1pPr>
          </a:lstStyle>
          <a:p>
            <a:pPr lvl="0"/>
            <a:r>
              <a:rPr lang="en-US"/>
              <a:t>Heading</a:t>
            </a:r>
          </a:p>
        </p:txBody>
      </p:sp>
      <p:sp>
        <p:nvSpPr>
          <p:cNvPr id="2" name="Text Placeholder 9">
            <a:extLst>
              <a:ext uri="{FF2B5EF4-FFF2-40B4-BE49-F238E27FC236}">
                <a16:creationId xmlns:a16="http://schemas.microsoft.com/office/drawing/2014/main" id="{892A23AA-62D6-9D6B-93E6-E42206E7374A}"/>
              </a:ext>
            </a:extLst>
          </p:cNvPr>
          <p:cNvSpPr>
            <a:spLocks noGrp="1"/>
          </p:cNvSpPr>
          <p:nvPr>
            <p:ph type="body" sz="quarter" idx="15"/>
          </p:nvPr>
        </p:nvSpPr>
        <p:spPr>
          <a:xfrm>
            <a:off x="763623" y="332656"/>
            <a:ext cx="10972800" cy="457200"/>
          </a:xfrm>
        </p:spPr>
        <p:txBody>
          <a:bodyPr/>
          <a:lstStyle>
            <a:lvl1pPr marL="0" indent="0">
              <a:buNone/>
              <a:defRPr sz="2400" b="0">
                <a:solidFill>
                  <a:schemeClr val="accent3"/>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Tree>
    <p:extLst>
      <p:ext uri="{BB962C8B-B14F-4D97-AF65-F5344CB8AC3E}">
        <p14:creationId xmlns:p14="http://schemas.microsoft.com/office/powerpoint/2010/main" val="418913558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3_Title and Eyebrow with graphic Dark">
    <p:bg>
      <p:bgPr>
        <a:solidFill>
          <a:schemeClr val="tx2"/>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C16F05C-4BB9-7C82-C709-68EA2F74B897}"/>
              </a:ext>
            </a:extLst>
          </p:cNvPr>
          <p:cNvSpPr>
            <a:spLocks noGrp="1"/>
          </p:cNvSpPr>
          <p:nvPr>
            <p:ph type="dt" sz="half" idx="10"/>
          </p:nvPr>
        </p:nvSpPr>
        <p:spPr/>
        <p:txBody>
          <a:bodyPr/>
          <a:lstStyle/>
          <a:p>
            <a:fld id="{538BA0BE-9994-4243-B399-F1EA7335824C}" type="datetime1">
              <a:rPr lang="en-US" smtClean="0"/>
              <a:t>4/2/2025</a:t>
            </a:fld>
            <a:endParaRPr lang="en-US"/>
          </a:p>
        </p:txBody>
      </p:sp>
      <p:sp>
        <p:nvSpPr>
          <p:cNvPr id="4" name="Footer Placeholder 3">
            <a:extLst>
              <a:ext uri="{FF2B5EF4-FFF2-40B4-BE49-F238E27FC236}">
                <a16:creationId xmlns:a16="http://schemas.microsoft.com/office/drawing/2014/main" id="{B562C211-B566-11DA-A38D-906051586563}"/>
              </a:ext>
            </a:extLst>
          </p:cNvPr>
          <p:cNvSpPr>
            <a:spLocks noGrp="1"/>
          </p:cNvSpPr>
          <p:nvPr>
            <p:ph type="ftr" sz="quarter" idx="11"/>
          </p:nvPr>
        </p:nvSpPr>
        <p:spPr/>
        <p:txBody>
          <a:bodyPr/>
          <a:lstStyle/>
          <a:p>
            <a:endParaRPr lang="en-US"/>
          </a:p>
        </p:txBody>
      </p:sp>
      <p:sp>
        <p:nvSpPr>
          <p:cNvPr id="6" name="object 24">
            <a:extLst>
              <a:ext uri="{FF2B5EF4-FFF2-40B4-BE49-F238E27FC236}">
                <a16:creationId xmlns:a16="http://schemas.microsoft.com/office/drawing/2014/main" id="{E5F920B2-E5F2-B5E1-9A23-2C5EE88B6F55}"/>
              </a:ext>
            </a:extLst>
          </p:cNvPr>
          <p:cNvSpPr/>
          <p:nvPr userDrawn="1"/>
        </p:nvSpPr>
        <p:spPr>
          <a:xfrm>
            <a:off x="1588" y="343463"/>
            <a:ext cx="152457" cy="6170641"/>
          </a:xfrm>
          <a:custGeom>
            <a:avLst/>
            <a:gdLst/>
            <a:ahLst/>
            <a:cxnLst/>
            <a:rect l="l" t="t" r="r" b="b"/>
            <a:pathLst>
              <a:path w="251460" h="10177780">
                <a:moveTo>
                  <a:pt x="251301" y="0"/>
                </a:moveTo>
                <a:lnTo>
                  <a:pt x="0" y="0"/>
                </a:lnTo>
                <a:lnTo>
                  <a:pt x="0" y="10177700"/>
                </a:lnTo>
                <a:lnTo>
                  <a:pt x="251301" y="10177700"/>
                </a:lnTo>
                <a:lnTo>
                  <a:pt x="251301" y="0"/>
                </a:lnTo>
                <a:close/>
              </a:path>
            </a:pathLst>
          </a:custGeom>
          <a:solidFill>
            <a:schemeClr val="accent4"/>
          </a:solidFill>
        </p:spPr>
        <p:txBody>
          <a:bodyPr wrap="square" lIns="0" tIns="0" rIns="0" bIns="0" rtlCol="0"/>
          <a:lstStyle/>
          <a:p>
            <a:endParaRPr kern="0">
              <a:solidFill>
                <a:sysClr val="windowText" lastClr="000000"/>
              </a:solidFill>
            </a:endParaRPr>
          </a:p>
        </p:txBody>
      </p:sp>
      <p:sp>
        <p:nvSpPr>
          <p:cNvPr id="7" name="Text Placeholder 32">
            <a:extLst>
              <a:ext uri="{FF2B5EF4-FFF2-40B4-BE49-F238E27FC236}">
                <a16:creationId xmlns:a16="http://schemas.microsoft.com/office/drawing/2014/main" id="{76176889-EC90-7074-D8BD-FB8FBFBCB343}"/>
              </a:ext>
            </a:extLst>
          </p:cNvPr>
          <p:cNvSpPr>
            <a:spLocks noGrp="1"/>
          </p:cNvSpPr>
          <p:nvPr>
            <p:ph type="body" sz="quarter" idx="14" hasCustomPrompt="1"/>
          </p:nvPr>
        </p:nvSpPr>
        <p:spPr>
          <a:xfrm>
            <a:off x="763623" y="789856"/>
            <a:ext cx="10972800" cy="457200"/>
          </a:xfrm>
        </p:spPr>
        <p:txBody>
          <a:bodyPr anchor="b"/>
          <a:lstStyle>
            <a:lvl1pPr marL="0" indent="0">
              <a:spcBef>
                <a:spcPts val="0"/>
              </a:spcBef>
              <a:buNone/>
              <a:defRPr sz="3150">
                <a:solidFill>
                  <a:schemeClr val="bg2"/>
                </a:solidFill>
                <a:latin typeface="+mj-lt"/>
              </a:defRPr>
            </a:lvl1pPr>
          </a:lstStyle>
          <a:p>
            <a:pPr lvl="0"/>
            <a:r>
              <a:rPr lang="en-US"/>
              <a:t>Heading</a:t>
            </a:r>
          </a:p>
        </p:txBody>
      </p:sp>
      <p:sp>
        <p:nvSpPr>
          <p:cNvPr id="2" name="Text Placeholder 9">
            <a:extLst>
              <a:ext uri="{FF2B5EF4-FFF2-40B4-BE49-F238E27FC236}">
                <a16:creationId xmlns:a16="http://schemas.microsoft.com/office/drawing/2014/main" id="{892A23AA-62D6-9D6B-93E6-E42206E7374A}"/>
              </a:ext>
            </a:extLst>
          </p:cNvPr>
          <p:cNvSpPr>
            <a:spLocks noGrp="1"/>
          </p:cNvSpPr>
          <p:nvPr>
            <p:ph type="body" sz="quarter" idx="15"/>
          </p:nvPr>
        </p:nvSpPr>
        <p:spPr>
          <a:xfrm>
            <a:off x="763623" y="332656"/>
            <a:ext cx="10972800" cy="457200"/>
          </a:xfrm>
        </p:spPr>
        <p:txBody>
          <a:bodyPr/>
          <a:lstStyle>
            <a:lvl1pPr marL="0" indent="0">
              <a:buNone/>
              <a:defRPr sz="2400" b="0">
                <a:solidFill>
                  <a:schemeClr val="accent3"/>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grpSp>
        <p:nvGrpSpPr>
          <p:cNvPr id="5" name="Group 4">
            <a:extLst>
              <a:ext uri="{FF2B5EF4-FFF2-40B4-BE49-F238E27FC236}">
                <a16:creationId xmlns:a16="http://schemas.microsoft.com/office/drawing/2014/main" id="{664BB8FA-B1C8-1767-93F2-C932D9F86D43}"/>
              </a:ext>
            </a:extLst>
          </p:cNvPr>
          <p:cNvGrpSpPr/>
          <p:nvPr userDrawn="1"/>
        </p:nvGrpSpPr>
        <p:grpSpPr>
          <a:xfrm>
            <a:off x="10768672" y="6279572"/>
            <a:ext cx="694340" cy="190186"/>
            <a:chOff x="10768672" y="6279572"/>
            <a:chExt cx="694340" cy="190186"/>
          </a:xfrm>
        </p:grpSpPr>
        <p:grpSp>
          <p:nvGrpSpPr>
            <p:cNvPr id="28" name="object 26">
              <a:extLst>
                <a:ext uri="{FF2B5EF4-FFF2-40B4-BE49-F238E27FC236}">
                  <a16:creationId xmlns:a16="http://schemas.microsoft.com/office/drawing/2014/main" id="{0307D5D9-4675-A28A-9E86-29217DF7DC69}"/>
                </a:ext>
              </a:extLst>
            </p:cNvPr>
            <p:cNvGrpSpPr/>
            <p:nvPr/>
          </p:nvGrpSpPr>
          <p:grpSpPr>
            <a:xfrm>
              <a:off x="10768672" y="6279841"/>
              <a:ext cx="348802" cy="189801"/>
              <a:chOff x="17759098" y="10356815"/>
              <a:chExt cx="575310" cy="313055"/>
            </a:xfrm>
          </p:grpSpPr>
          <p:sp>
            <p:nvSpPr>
              <p:cNvPr id="30" name="object 27">
                <a:extLst>
                  <a:ext uri="{FF2B5EF4-FFF2-40B4-BE49-F238E27FC236}">
                    <a16:creationId xmlns:a16="http://schemas.microsoft.com/office/drawing/2014/main" id="{0EC41B8B-49AA-3C50-800A-DC56B280AE0A}"/>
                  </a:ext>
                </a:extLst>
              </p:cNvPr>
              <p:cNvSpPr/>
              <p:nvPr/>
            </p:nvSpPr>
            <p:spPr>
              <a:xfrm>
                <a:off x="17759098" y="10361392"/>
                <a:ext cx="281940" cy="302895"/>
              </a:xfrm>
              <a:custGeom>
                <a:avLst/>
                <a:gdLst/>
                <a:ahLst/>
                <a:cxnLst/>
                <a:rect l="l" t="t" r="r" b="b"/>
                <a:pathLst>
                  <a:path w="281940" h="302895">
                    <a:moveTo>
                      <a:pt x="281478" y="0"/>
                    </a:moveTo>
                    <a:lnTo>
                      <a:pt x="202936" y="0"/>
                    </a:lnTo>
                    <a:lnTo>
                      <a:pt x="202936" y="174308"/>
                    </a:lnTo>
                    <a:lnTo>
                      <a:pt x="80364" y="0"/>
                    </a:lnTo>
                    <a:lnTo>
                      <a:pt x="0" y="0"/>
                    </a:lnTo>
                    <a:lnTo>
                      <a:pt x="0" y="302723"/>
                    </a:lnTo>
                    <a:lnTo>
                      <a:pt x="78049" y="302723"/>
                    </a:lnTo>
                    <a:lnTo>
                      <a:pt x="78049" y="119807"/>
                    </a:lnTo>
                    <a:lnTo>
                      <a:pt x="206129" y="302776"/>
                    </a:lnTo>
                    <a:lnTo>
                      <a:pt x="281478" y="302776"/>
                    </a:lnTo>
                    <a:lnTo>
                      <a:pt x="281478" y="0"/>
                    </a:lnTo>
                    <a:close/>
                  </a:path>
                </a:pathLst>
              </a:custGeom>
              <a:solidFill>
                <a:srgbClr val="FFFFFF"/>
              </a:solidFill>
            </p:spPr>
            <p:txBody>
              <a:bodyPr wrap="square" lIns="0" tIns="0" rIns="0" bIns="0" rtlCol="0"/>
              <a:lstStyle/>
              <a:p>
                <a:endParaRPr kern="0">
                  <a:solidFill>
                    <a:sysClr val="windowText" lastClr="000000"/>
                  </a:solidFill>
                </a:endParaRPr>
              </a:p>
            </p:txBody>
          </p:sp>
          <p:sp>
            <p:nvSpPr>
              <p:cNvPr id="31" name="object 28">
                <a:extLst>
                  <a:ext uri="{FF2B5EF4-FFF2-40B4-BE49-F238E27FC236}">
                    <a16:creationId xmlns:a16="http://schemas.microsoft.com/office/drawing/2014/main" id="{3294FB69-AF2F-BD66-EB67-E65F8B1C6EBE}"/>
                  </a:ext>
                </a:extLst>
              </p:cNvPr>
              <p:cNvSpPr/>
              <p:nvPr/>
            </p:nvSpPr>
            <p:spPr>
              <a:xfrm>
                <a:off x="18073618" y="10356815"/>
                <a:ext cx="260985" cy="313055"/>
              </a:xfrm>
              <a:custGeom>
                <a:avLst/>
                <a:gdLst/>
                <a:ahLst/>
                <a:cxnLst/>
                <a:rect l="l" t="t" r="r" b="b"/>
                <a:pathLst>
                  <a:path w="260984" h="313054">
                    <a:moveTo>
                      <a:pt x="130289" y="0"/>
                    </a:moveTo>
                    <a:lnTo>
                      <a:pt x="78682" y="7671"/>
                    </a:lnTo>
                    <a:lnTo>
                      <a:pt x="40822" y="28360"/>
                    </a:lnTo>
                    <a:lnTo>
                      <a:pt x="17523" y="58574"/>
                    </a:lnTo>
                    <a:lnTo>
                      <a:pt x="9601" y="94824"/>
                    </a:lnTo>
                    <a:lnTo>
                      <a:pt x="21302" y="138425"/>
                    </a:lnTo>
                    <a:lnTo>
                      <a:pt x="50787" y="165184"/>
                    </a:lnTo>
                    <a:lnTo>
                      <a:pt x="89631" y="180370"/>
                    </a:lnTo>
                    <a:lnTo>
                      <a:pt x="129409" y="189250"/>
                    </a:lnTo>
                    <a:lnTo>
                      <a:pt x="151085" y="194533"/>
                    </a:lnTo>
                    <a:lnTo>
                      <a:pt x="167360" y="200784"/>
                    </a:lnTo>
                    <a:lnTo>
                      <a:pt x="177593" y="208990"/>
                    </a:lnTo>
                    <a:lnTo>
                      <a:pt x="181146" y="220139"/>
                    </a:lnTo>
                    <a:lnTo>
                      <a:pt x="178169" y="230305"/>
                    </a:lnTo>
                    <a:lnTo>
                      <a:pt x="169613" y="238518"/>
                    </a:lnTo>
                    <a:lnTo>
                      <a:pt x="156042" y="244011"/>
                    </a:lnTo>
                    <a:lnTo>
                      <a:pt x="138016" y="246013"/>
                    </a:lnTo>
                    <a:lnTo>
                      <a:pt x="108540" y="242837"/>
                    </a:lnTo>
                    <a:lnTo>
                      <a:pt x="82344" y="234216"/>
                    </a:lnTo>
                    <a:lnTo>
                      <a:pt x="59809" y="221510"/>
                    </a:lnTo>
                    <a:lnTo>
                      <a:pt x="41318" y="206025"/>
                    </a:lnTo>
                    <a:lnTo>
                      <a:pt x="0" y="264599"/>
                    </a:lnTo>
                    <a:lnTo>
                      <a:pt x="25223" y="284356"/>
                    </a:lnTo>
                    <a:lnTo>
                      <a:pt x="55622" y="299531"/>
                    </a:lnTo>
                    <a:lnTo>
                      <a:pt x="91803" y="309266"/>
                    </a:lnTo>
                    <a:lnTo>
                      <a:pt x="134372" y="312702"/>
                    </a:lnTo>
                    <a:lnTo>
                      <a:pt x="188371" y="305443"/>
                    </a:lnTo>
                    <a:lnTo>
                      <a:pt x="227945" y="284908"/>
                    </a:lnTo>
                    <a:lnTo>
                      <a:pt x="252285" y="252965"/>
                    </a:lnTo>
                    <a:lnTo>
                      <a:pt x="260578" y="211480"/>
                    </a:lnTo>
                    <a:lnTo>
                      <a:pt x="249016" y="169435"/>
                    </a:lnTo>
                    <a:lnTo>
                      <a:pt x="219837" y="142952"/>
                    </a:lnTo>
                    <a:lnTo>
                      <a:pt x="181299" y="127359"/>
                    </a:lnTo>
                    <a:lnTo>
                      <a:pt x="141660" y="117985"/>
                    </a:lnTo>
                    <a:lnTo>
                      <a:pt x="119330" y="113216"/>
                    </a:lnTo>
                    <a:lnTo>
                      <a:pt x="102966" y="107720"/>
                    </a:lnTo>
                    <a:lnTo>
                      <a:pt x="92902" y="100435"/>
                    </a:lnTo>
                    <a:lnTo>
                      <a:pt x="89473" y="90300"/>
                    </a:lnTo>
                    <a:lnTo>
                      <a:pt x="91313" y="81050"/>
                    </a:lnTo>
                    <a:lnTo>
                      <a:pt x="97367" y="73551"/>
                    </a:lnTo>
                    <a:lnTo>
                      <a:pt x="108437" y="68524"/>
                    </a:lnTo>
                    <a:lnTo>
                      <a:pt x="125326" y="66689"/>
                    </a:lnTo>
                    <a:lnTo>
                      <a:pt x="146369" y="68645"/>
                    </a:lnTo>
                    <a:lnTo>
                      <a:pt x="168489" y="74516"/>
                    </a:lnTo>
                    <a:lnTo>
                      <a:pt x="190362" y="84305"/>
                    </a:lnTo>
                    <a:lnTo>
                      <a:pt x="210663" y="98017"/>
                    </a:lnTo>
                    <a:lnTo>
                      <a:pt x="253301" y="42197"/>
                    </a:lnTo>
                    <a:lnTo>
                      <a:pt x="227314" y="23920"/>
                    </a:lnTo>
                    <a:lnTo>
                      <a:pt x="197916" y="10713"/>
                    </a:lnTo>
                    <a:lnTo>
                      <a:pt x="165458" y="2698"/>
                    </a:lnTo>
                    <a:lnTo>
                      <a:pt x="130289" y="0"/>
                    </a:lnTo>
                    <a:close/>
                  </a:path>
                </a:pathLst>
              </a:custGeom>
              <a:solidFill>
                <a:srgbClr val="00BFFF"/>
              </a:solidFill>
            </p:spPr>
            <p:txBody>
              <a:bodyPr wrap="square" lIns="0" tIns="0" rIns="0" bIns="0" rtlCol="0"/>
              <a:lstStyle/>
              <a:p>
                <a:endParaRPr kern="0">
                  <a:solidFill>
                    <a:sysClr val="windowText" lastClr="000000"/>
                  </a:solidFill>
                </a:endParaRPr>
              </a:p>
            </p:txBody>
          </p:sp>
        </p:grpSp>
        <p:sp>
          <p:nvSpPr>
            <p:cNvPr id="29" name="object 29">
              <a:extLst>
                <a:ext uri="{FF2B5EF4-FFF2-40B4-BE49-F238E27FC236}">
                  <a16:creationId xmlns:a16="http://schemas.microsoft.com/office/drawing/2014/main" id="{B960E19B-B36B-18CE-4900-0A5F6C4C3B50}"/>
                </a:ext>
              </a:extLst>
            </p:cNvPr>
            <p:cNvSpPr/>
            <p:nvPr/>
          </p:nvSpPr>
          <p:spPr>
            <a:xfrm>
              <a:off x="11126915" y="6279572"/>
              <a:ext cx="336097" cy="190186"/>
            </a:xfrm>
            <a:custGeom>
              <a:avLst/>
              <a:gdLst/>
              <a:ahLst/>
              <a:cxnLst/>
              <a:rect l="l" t="t" r="r" b="b"/>
              <a:pathLst>
                <a:path w="554355" h="313690">
                  <a:moveTo>
                    <a:pt x="247383" y="4508"/>
                  </a:moveTo>
                  <a:lnTo>
                    <a:pt x="0" y="4508"/>
                  </a:lnTo>
                  <a:lnTo>
                    <a:pt x="0" y="73088"/>
                  </a:lnTo>
                  <a:lnTo>
                    <a:pt x="84886" y="73088"/>
                  </a:lnTo>
                  <a:lnTo>
                    <a:pt x="84886" y="308038"/>
                  </a:lnTo>
                  <a:lnTo>
                    <a:pt x="162928" y="308038"/>
                  </a:lnTo>
                  <a:lnTo>
                    <a:pt x="162928" y="73088"/>
                  </a:lnTo>
                  <a:lnTo>
                    <a:pt x="247383" y="73088"/>
                  </a:lnTo>
                  <a:lnTo>
                    <a:pt x="247383" y="4508"/>
                  </a:lnTo>
                  <a:close/>
                </a:path>
                <a:path w="554355" h="313690">
                  <a:moveTo>
                    <a:pt x="554139" y="81254"/>
                  </a:moveTo>
                  <a:lnTo>
                    <a:pt x="535305" y="51714"/>
                  </a:lnTo>
                  <a:lnTo>
                    <a:pt x="507720" y="25654"/>
                  </a:lnTo>
                  <a:lnTo>
                    <a:pt x="469734" y="7086"/>
                  </a:lnTo>
                  <a:lnTo>
                    <a:pt x="419760" y="0"/>
                  </a:lnTo>
                  <a:lnTo>
                    <a:pt x="368109" y="7315"/>
                  </a:lnTo>
                  <a:lnTo>
                    <a:pt x="323684" y="28206"/>
                  </a:lnTo>
                  <a:lnTo>
                    <a:pt x="288937" y="61087"/>
                  </a:lnTo>
                  <a:lnTo>
                    <a:pt x="266293" y="104419"/>
                  </a:lnTo>
                  <a:lnTo>
                    <a:pt x="258191" y="156603"/>
                  </a:lnTo>
                  <a:lnTo>
                    <a:pt x="266280" y="208622"/>
                  </a:lnTo>
                  <a:lnTo>
                    <a:pt x="288912" y="251929"/>
                  </a:lnTo>
                  <a:lnTo>
                    <a:pt x="323672" y="284886"/>
                  </a:lnTo>
                  <a:lnTo>
                    <a:pt x="368096" y="305854"/>
                  </a:lnTo>
                  <a:lnTo>
                    <a:pt x="419760" y="313207"/>
                  </a:lnTo>
                  <a:lnTo>
                    <a:pt x="469798" y="306006"/>
                  </a:lnTo>
                  <a:lnTo>
                    <a:pt x="507885" y="287223"/>
                  </a:lnTo>
                  <a:lnTo>
                    <a:pt x="535495" y="261124"/>
                  </a:lnTo>
                  <a:lnTo>
                    <a:pt x="554139" y="231952"/>
                  </a:lnTo>
                  <a:lnTo>
                    <a:pt x="486943" y="200190"/>
                  </a:lnTo>
                  <a:lnTo>
                    <a:pt x="476643" y="217208"/>
                  </a:lnTo>
                  <a:lnTo>
                    <a:pt x="461352" y="231216"/>
                  </a:lnTo>
                  <a:lnTo>
                    <a:pt x="442074" y="240703"/>
                  </a:lnTo>
                  <a:lnTo>
                    <a:pt x="419760" y="244208"/>
                  </a:lnTo>
                  <a:lnTo>
                    <a:pt x="387032" y="237477"/>
                  </a:lnTo>
                  <a:lnTo>
                    <a:pt x="361010" y="218960"/>
                  </a:lnTo>
                  <a:lnTo>
                    <a:pt x="343827" y="191160"/>
                  </a:lnTo>
                  <a:lnTo>
                    <a:pt x="337629" y="156603"/>
                  </a:lnTo>
                  <a:lnTo>
                    <a:pt x="343827" y="122047"/>
                  </a:lnTo>
                  <a:lnTo>
                    <a:pt x="360984" y="94246"/>
                  </a:lnTo>
                  <a:lnTo>
                    <a:pt x="387007" y="75730"/>
                  </a:lnTo>
                  <a:lnTo>
                    <a:pt x="419760" y="69011"/>
                  </a:lnTo>
                  <a:lnTo>
                    <a:pt x="442074" y="72504"/>
                  </a:lnTo>
                  <a:lnTo>
                    <a:pt x="461352" y="81991"/>
                  </a:lnTo>
                  <a:lnTo>
                    <a:pt x="476643" y="95999"/>
                  </a:lnTo>
                  <a:lnTo>
                    <a:pt x="486943" y="113030"/>
                  </a:lnTo>
                  <a:lnTo>
                    <a:pt x="554139" y="81254"/>
                  </a:lnTo>
                  <a:close/>
                </a:path>
              </a:pathLst>
            </a:custGeom>
            <a:solidFill>
              <a:srgbClr val="FFFFFF"/>
            </a:solidFill>
          </p:spPr>
          <p:txBody>
            <a:bodyPr wrap="square" lIns="0" tIns="0" rIns="0" bIns="0" rtlCol="0"/>
            <a:lstStyle/>
            <a:p>
              <a:endParaRPr kern="0">
                <a:solidFill>
                  <a:sysClr val="windowText" lastClr="000000"/>
                </a:solidFill>
              </a:endParaRPr>
            </a:p>
          </p:txBody>
        </p:sp>
      </p:grpSp>
    </p:spTree>
    <p:extLst>
      <p:ext uri="{BB962C8B-B14F-4D97-AF65-F5344CB8AC3E}">
        <p14:creationId xmlns:p14="http://schemas.microsoft.com/office/powerpoint/2010/main" val="262616101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3_Title Subtitle and graphic - Dark">
    <p:bg>
      <p:bgPr>
        <a:solidFill>
          <a:schemeClr val="tx2"/>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C16F05C-4BB9-7C82-C709-68EA2F74B897}"/>
              </a:ext>
            </a:extLst>
          </p:cNvPr>
          <p:cNvSpPr>
            <a:spLocks noGrp="1"/>
          </p:cNvSpPr>
          <p:nvPr>
            <p:ph type="dt" sz="half" idx="10"/>
          </p:nvPr>
        </p:nvSpPr>
        <p:spPr/>
        <p:txBody>
          <a:bodyPr/>
          <a:lstStyle/>
          <a:p>
            <a:fld id="{538BA0BE-9994-4243-B399-F1EA7335824C}" type="datetime1">
              <a:rPr lang="en-US" smtClean="0"/>
              <a:t>4/2/2025</a:t>
            </a:fld>
            <a:endParaRPr lang="en-US"/>
          </a:p>
        </p:txBody>
      </p:sp>
      <p:sp>
        <p:nvSpPr>
          <p:cNvPr id="4" name="Footer Placeholder 3">
            <a:extLst>
              <a:ext uri="{FF2B5EF4-FFF2-40B4-BE49-F238E27FC236}">
                <a16:creationId xmlns:a16="http://schemas.microsoft.com/office/drawing/2014/main" id="{B562C211-B566-11DA-A38D-906051586563}"/>
              </a:ext>
            </a:extLst>
          </p:cNvPr>
          <p:cNvSpPr>
            <a:spLocks noGrp="1"/>
          </p:cNvSpPr>
          <p:nvPr>
            <p:ph type="ftr" sz="quarter" idx="11"/>
          </p:nvPr>
        </p:nvSpPr>
        <p:spPr/>
        <p:txBody>
          <a:bodyPr/>
          <a:lstStyle/>
          <a:p>
            <a:endParaRPr lang="en-US"/>
          </a:p>
        </p:txBody>
      </p:sp>
      <p:sp>
        <p:nvSpPr>
          <p:cNvPr id="6" name="object 24">
            <a:extLst>
              <a:ext uri="{FF2B5EF4-FFF2-40B4-BE49-F238E27FC236}">
                <a16:creationId xmlns:a16="http://schemas.microsoft.com/office/drawing/2014/main" id="{E5F920B2-E5F2-B5E1-9A23-2C5EE88B6F55}"/>
              </a:ext>
            </a:extLst>
          </p:cNvPr>
          <p:cNvSpPr/>
          <p:nvPr userDrawn="1"/>
        </p:nvSpPr>
        <p:spPr>
          <a:xfrm>
            <a:off x="1588" y="343463"/>
            <a:ext cx="152457" cy="6170641"/>
          </a:xfrm>
          <a:custGeom>
            <a:avLst/>
            <a:gdLst/>
            <a:ahLst/>
            <a:cxnLst/>
            <a:rect l="l" t="t" r="r" b="b"/>
            <a:pathLst>
              <a:path w="251460" h="10177780">
                <a:moveTo>
                  <a:pt x="251301" y="0"/>
                </a:moveTo>
                <a:lnTo>
                  <a:pt x="0" y="0"/>
                </a:lnTo>
                <a:lnTo>
                  <a:pt x="0" y="10177700"/>
                </a:lnTo>
                <a:lnTo>
                  <a:pt x="251301" y="10177700"/>
                </a:lnTo>
                <a:lnTo>
                  <a:pt x="251301" y="0"/>
                </a:lnTo>
                <a:close/>
              </a:path>
            </a:pathLst>
          </a:custGeom>
          <a:solidFill>
            <a:schemeClr val="accent3"/>
          </a:solidFill>
        </p:spPr>
        <p:txBody>
          <a:bodyPr wrap="square" lIns="0" tIns="0" rIns="0" bIns="0" rtlCol="0"/>
          <a:lstStyle/>
          <a:p>
            <a:endParaRPr kern="0">
              <a:solidFill>
                <a:sysClr val="windowText" lastClr="000000"/>
              </a:solidFill>
            </a:endParaRPr>
          </a:p>
        </p:txBody>
      </p:sp>
      <p:sp>
        <p:nvSpPr>
          <p:cNvPr id="7" name="Text Placeholder 32">
            <a:extLst>
              <a:ext uri="{FF2B5EF4-FFF2-40B4-BE49-F238E27FC236}">
                <a16:creationId xmlns:a16="http://schemas.microsoft.com/office/drawing/2014/main" id="{76176889-EC90-7074-D8BD-FB8FBFBCB343}"/>
              </a:ext>
            </a:extLst>
          </p:cNvPr>
          <p:cNvSpPr>
            <a:spLocks noGrp="1"/>
          </p:cNvSpPr>
          <p:nvPr>
            <p:ph type="body" sz="quarter" idx="14" hasCustomPrompt="1"/>
          </p:nvPr>
        </p:nvSpPr>
        <p:spPr>
          <a:xfrm>
            <a:off x="763623" y="332656"/>
            <a:ext cx="8229600" cy="914400"/>
          </a:xfrm>
        </p:spPr>
        <p:txBody>
          <a:bodyPr anchor="b"/>
          <a:lstStyle>
            <a:lvl1pPr marL="0" indent="0">
              <a:spcBef>
                <a:spcPts val="0"/>
              </a:spcBef>
              <a:buNone/>
              <a:defRPr sz="3150">
                <a:solidFill>
                  <a:schemeClr val="bg1"/>
                </a:solidFill>
                <a:latin typeface="+mj-lt"/>
              </a:defRPr>
            </a:lvl1pPr>
          </a:lstStyle>
          <a:p>
            <a:pPr lvl="0"/>
            <a:r>
              <a:rPr lang="en-US"/>
              <a:t>Heading</a:t>
            </a:r>
          </a:p>
        </p:txBody>
      </p:sp>
      <p:sp>
        <p:nvSpPr>
          <p:cNvPr id="10" name="Text Placeholder 9">
            <a:extLst>
              <a:ext uri="{FF2B5EF4-FFF2-40B4-BE49-F238E27FC236}">
                <a16:creationId xmlns:a16="http://schemas.microsoft.com/office/drawing/2014/main" id="{37CFB753-B7D0-7691-BBDF-851034055F44}"/>
              </a:ext>
            </a:extLst>
          </p:cNvPr>
          <p:cNvSpPr>
            <a:spLocks noGrp="1"/>
          </p:cNvSpPr>
          <p:nvPr>
            <p:ph type="body" sz="quarter" idx="15"/>
          </p:nvPr>
        </p:nvSpPr>
        <p:spPr>
          <a:xfrm>
            <a:off x="763623" y="1304764"/>
            <a:ext cx="8229600" cy="457200"/>
          </a:xfrm>
        </p:spPr>
        <p:txBody>
          <a:bodyPr/>
          <a:lstStyle>
            <a:lvl1pPr marL="0" indent="0">
              <a:buNone/>
              <a:defRPr sz="2400" b="0">
                <a:solidFill>
                  <a:schemeClr val="accent3"/>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grpSp>
        <p:nvGrpSpPr>
          <p:cNvPr id="2" name="Group 1">
            <a:extLst>
              <a:ext uri="{FF2B5EF4-FFF2-40B4-BE49-F238E27FC236}">
                <a16:creationId xmlns:a16="http://schemas.microsoft.com/office/drawing/2014/main" id="{7425257C-BB8E-2BD1-7B93-582878009D8D}"/>
              </a:ext>
            </a:extLst>
          </p:cNvPr>
          <p:cNvGrpSpPr/>
          <p:nvPr userDrawn="1"/>
        </p:nvGrpSpPr>
        <p:grpSpPr>
          <a:xfrm>
            <a:off x="10768672" y="6279572"/>
            <a:ext cx="694340" cy="190186"/>
            <a:chOff x="10768672" y="6279572"/>
            <a:chExt cx="694340" cy="190186"/>
          </a:xfrm>
        </p:grpSpPr>
        <p:grpSp>
          <p:nvGrpSpPr>
            <p:cNvPr id="28" name="object 26">
              <a:extLst>
                <a:ext uri="{FF2B5EF4-FFF2-40B4-BE49-F238E27FC236}">
                  <a16:creationId xmlns:a16="http://schemas.microsoft.com/office/drawing/2014/main" id="{DFF10000-2DAA-BD34-B5E6-526B17666A1E}"/>
                </a:ext>
              </a:extLst>
            </p:cNvPr>
            <p:cNvGrpSpPr/>
            <p:nvPr/>
          </p:nvGrpSpPr>
          <p:grpSpPr>
            <a:xfrm>
              <a:off x="10768672" y="6279841"/>
              <a:ext cx="348802" cy="189801"/>
              <a:chOff x="17759098" y="10356815"/>
              <a:chExt cx="575310" cy="313055"/>
            </a:xfrm>
          </p:grpSpPr>
          <p:sp>
            <p:nvSpPr>
              <p:cNvPr id="30" name="object 27">
                <a:extLst>
                  <a:ext uri="{FF2B5EF4-FFF2-40B4-BE49-F238E27FC236}">
                    <a16:creationId xmlns:a16="http://schemas.microsoft.com/office/drawing/2014/main" id="{8EA6A7A7-9C90-CF55-D375-E891445C2296}"/>
                  </a:ext>
                </a:extLst>
              </p:cNvPr>
              <p:cNvSpPr/>
              <p:nvPr/>
            </p:nvSpPr>
            <p:spPr>
              <a:xfrm>
                <a:off x="17759098" y="10361392"/>
                <a:ext cx="281940" cy="302895"/>
              </a:xfrm>
              <a:custGeom>
                <a:avLst/>
                <a:gdLst/>
                <a:ahLst/>
                <a:cxnLst/>
                <a:rect l="l" t="t" r="r" b="b"/>
                <a:pathLst>
                  <a:path w="281940" h="302895">
                    <a:moveTo>
                      <a:pt x="281478" y="0"/>
                    </a:moveTo>
                    <a:lnTo>
                      <a:pt x="202936" y="0"/>
                    </a:lnTo>
                    <a:lnTo>
                      <a:pt x="202936" y="174308"/>
                    </a:lnTo>
                    <a:lnTo>
                      <a:pt x="80364" y="0"/>
                    </a:lnTo>
                    <a:lnTo>
                      <a:pt x="0" y="0"/>
                    </a:lnTo>
                    <a:lnTo>
                      <a:pt x="0" y="302723"/>
                    </a:lnTo>
                    <a:lnTo>
                      <a:pt x="78049" y="302723"/>
                    </a:lnTo>
                    <a:lnTo>
                      <a:pt x="78049" y="119807"/>
                    </a:lnTo>
                    <a:lnTo>
                      <a:pt x="206129" y="302776"/>
                    </a:lnTo>
                    <a:lnTo>
                      <a:pt x="281478" y="302776"/>
                    </a:lnTo>
                    <a:lnTo>
                      <a:pt x="281478" y="0"/>
                    </a:lnTo>
                    <a:close/>
                  </a:path>
                </a:pathLst>
              </a:custGeom>
              <a:solidFill>
                <a:srgbClr val="FFFFFF"/>
              </a:solidFill>
            </p:spPr>
            <p:txBody>
              <a:bodyPr wrap="square" lIns="0" tIns="0" rIns="0" bIns="0" rtlCol="0"/>
              <a:lstStyle/>
              <a:p>
                <a:endParaRPr kern="0">
                  <a:solidFill>
                    <a:sysClr val="windowText" lastClr="000000"/>
                  </a:solidFill>
                </a:endParaRPr>
              </a:p>
            </p:txBody>
          </p:sp>
          <p:sp>
            <p:nvSpPr>
              <p:cNvPr id="31" name="object 28">
                <a:extLst>
                  <a:ext uri="{FF2B5EF4-FFF2-40B4-BE49-F238E27FC236}">
                    <a16:creationId xmlns:a16="http://schemas.microsoft.com/office/drawing/2014/main" id="{C00A773D-89B1-1B30-804D-ABF72D8297A3}"/>
                  </a:ext>
                </a:extLst>
              </p:cNvPr>
              <p:cNvSpPr/>
              <p:nvPr/>
            </p:nvSpPr>
            <p:spPr>
              <a:xfrm>
                <a:off x="18073618" y="10356815"/>
                <a:ext cx="260985" cy="313055"/>
              </a:xfrm>
              <a:custGeom>
                <a:avLst/>
                <a:gdLst/>
                <a:ahLst/>
                <a:cxnLst/>
                <a:rect l="l" t="t" r="r" b="b"/>
                <a:pathLst>
                  <a:path w="260984" h="313054">
                    <a:moveTo>
                      <a:pt x="130289" y="0"/>
                    </a:moveTo>
                    <a:lnTo>
                      <a:pt x="78682" y="7671"/>
                    </a:lnTo>
                    <a:lnTo>
                      <a:pt x="40822" y="28360"/>
                    </a:lnTo>
                    <a:lnTo>
                      <a:pt x="17523" y="58574"/>
                    </a:lnTo>
                    <a:lnTo>
                      <a:pt x="9601" y="94824"/>
                    </a:lnTo>
                    <a:lnTo>
                      <a:pt x="21302" y="138425"/>
                    </a:lnTo>
                    <a:lnTo>
                      <a:pt x="50787" y="165184"/>
                    </a:lnTo>
                    <a:lnTo>
                      <a:pt x="89631" y="180370"/>
                    </a:lnTo>
                    <a:lnTo>
                      <a:pt x="129409" y="189250"/>
                    </a:lnTo>
                    <a:lnTo>
                      <a:pt x="151085" y="194533"/>
                    </a:lnTo>
                    <a:lnTo>
                      <a:pt x="167360" y="200784"/>
                    </a:lnTo>
                    <a:lnTo>
                      <a:pt x="177593" y="208990"/>
                    </a:lnTo>
                    <a:lnTo>
                      <a:pt x="181146" y="220139"/>
                    </a:lnTo>
                    <a:lnTo>
                      <a:pt x="178169" y="230305"/>
                    </a:lnTo>
                    <a:lnTo>
                      <a:pt x="169613" y="238518"/>
                    </a:lnTo>
                    <a:lnTo>
                      <a:pt x="156042" y="244011"/>
                    </a:lnTo>
                    <a:lnTo>
                      <a:pt x="138016" y="246013"/>
                    </a:lnTo>
                    <a:lnTo>
                      <a:pt x="108540" y="242837"/>
                    </a:lnTo>
                    <a:lnTo>
                      <a:pt x="82344" y="234216"/>
                    </a:lnTo>
                    <a:lnTo>
                      <a:pt x="59809" y="221510"/>
                    </a:lnTo>
                    <a:lnTo>
                      <a:pt x="41318" y="206025"/>
                    </a:lnTo>
                    <a:lnTo>
                      <a:pt x="0" y="264599"/>
                    </a:lnTo>
                    <a:lnTo>
                      <a:pt x="25223" y="284356"/>
                    </a:lnTo>
                    <a:lnTo>
                      <a:pt x="55622" y="299531"/>
                    </a:lnTo>
                    <a:lnTo>
                      <a:pt x="91803" y="309266"/>
                    </a:lnTo>
                    <a:lnTo>
                      <a:pt x="134372" y="312702"/>
                    </a:lnTo>
                    <a:lnTo>
                      <a:pt x="188371" y="305443"/>
                    </a:lnTo>
                    <a:lnTo>
                      <a:pt x="227945" y="284908"/>
                    </a:lnTo>
                    <a:lnTo>
                      <a:pt x="252285" y="252965"/>
                    </a:lnTo>
                    <a:lnTo>
                      <a:pt x="260578" y="211480"/>
                    </a:lnTo>
                    <a:lnTo>
                      <a:pt x="249016" y="169435"/>
                    </a:lnTo>
                    <a:lnTo>
                      <a:pt x="219837" y="142952"/>
                    </a:lnTo>
                    <a:lnTo>
                      <a:pt x="181299" y="127359"/>
                    </a:lnTo>
                    <a:lnTo>
                      <a:pt x="141660" y="117985"/>
                    </a:lnTo>
                    <a:lnTo>
                      <a:pt x="119330" y="113216"/>
                    </a:lnTo>
                    <a:lnTo>
                      <a:pt x="102966" y="107720"/>
                    </a:lnTo>
                    <a:lnTo>
                      <a:pt x="92902" y="100435"/>
                    </a:lnTo>
                    <a:lnTo>
                      <a:pt x="89473" y="90300"/>
                    </a:lnTo>
                    <a:lnTo>
                      <a:pt x="91313" y="81050"/>
                    </a:lnTo>
                    <a:lnTo>
                      <a:pt x="97367" y="73551"/>
                    </a:lnTo>
                    <a:lnTo>
                      <a:pt x="108437" y="68524"/>
                    </a:lnTo>
                    <a:lnTo>
                      <a:pt x="125326" y="66689"/>
                    </a:lnTo>
                    <a:lnTo>
                      <a:pt x="146369" y="68645"/>
                    </a:lnTo>
                    <a:lnTo>
                      <a:pt x="168489" y="74516"/>
                    </a:lnTo>
                    <a:lnTo>
                      <a:pt x="190362" y="84305"/>
                    </a:lnTo>
                    <a:lnTo>
                      <a:pt x="210663" y="98017"/>
                    </a:lnTo>
                    <a:lnTo>
                      <a:pt x="253301" y="42197"/>
                    </a:lnTo>
                    <a:lnTo>
                      <a:pt x="227314" y="23920"/>
                    </a:lnTo>
                    <a:lnTo>
                      <a:pt x="197916" y="10713"/>
                    </a:lnTo>
                    <a:lnTo>
                      <a:pt x="165458" y="2698"/>
                    </a:lnTo>
                    <a:lnTo>
                      <a:pt x="130289" y="0"/>
                    </a:lnTo>
                    <a:close/>
                  </a:path>
                </a:pathLst>
              </a:custGeom>
              <a:solidFill>
                <a:srgbClr val="00BFFF"/>
              </a:solidFill>
            </p:spPr>
            <p:txBody>
              <a:bodyPr wrap="square" lIns="0" tIns="0" rIns="0" bIns="0" rtlCol="0"/>
              <a:lstStyle/>
              <a:p>
                <a:endParaRPr kern="0">
                  <a:solidFill>
                    <a:sysClr val="windowText" lastClr="000000"/>
                  </a:solidFill>
                </a:endParaRPr>
              </a:p>
            </p:txBody>
          </p:sp>
        </p:grpSp>
        <p:sp>
          <p:nvSpPr>
            <p:cNvPr id="29" name="object 29">
              <a:extLst>
                <a:ext uri="{FF2B5EF4-FFF2-40B4-BE49-F238E27FC236}">
                  <a16:creationId xmlns:a16="http://schemas.microsoft.com/office/drawing/2014/main" id="{0018487B-2243-EEC7-6228-3B6C2C4BE819}"/>
                </a:ext>
              </a:extLst>
            </p:cNvPr>
            <p:cNvSpPr/>
            <p:nvPr/>
          </p:nvSpPr>
          <p:spPr>
            <a:xfrm>
              <a:off x="11126915" y="6279572"/>
              <a:ext cx="336097" cy="190186"/>
            </a:xfrm>
            <a:custGeom>
              <a:avLst/>
              <a:gdLst/>
              <a:ahLst/>
              <a:cxnLst/>
              <a:rect l="l" t="t" r="r" b="b"/>
              <a:pathLst>
                <a:path w="554355" h="313690">
                  <a:moveTo>
                    <a:pt x="247383" y="4508"/>
                  </a:moveTo>
                  <a:lnTo>
                    <a:pt x="0" y="4508"/>
                  </a:lnTo>
                  <a:lnTo>
                    <a:pt x="0" y="73088"/>
                  </a:lnTo>
                  <a:lnTo>
                    <a:pt x="84886" y="73088"/>
                  </a:lnTo>
                  <a:lnTo>
                    <a:pt x="84886" y="308038"/>
                  </a:lnTo>
                  <a:lnTo>
                    <a:pt x="162928" y="308038"/>
                  </a:lnTo>
                  <a:lnTo>
                    <a:pt x="162928" y="73088"/>
                  </a:lnTo>
                  <a:lnTo>
                    <a:pt x="247383" y="73088"/>
                  </a:lnTo>
                  <a:lnTo>
                    <a:pt x="247383" y="4508"/>
                  </a:lnTo>
                  <a:close/>
                </a:path>
                <a:path w="554355" h="313690">
                  <a:moveTo>
                    <a:pt x="554139" y="81254"/>
                  </a:moveTo>
                  <a:lnTo>
                    <a:pt x="535305" y="51714"/>
                  </a:lnTo>
                  <a:lnTo>
                    <a:pt x="507720" y="25654"/>
                  </a:lnTo>
                  <a:lnTo>
                    <a:pt x="469734" y="7086"/>
                  </a:lnTo>
                  <a:lnTo>
                    <a:pt x="419760" y="0"/>
                  </a:lnTo>
                  <a:lnTo>
                    <a:pt x="368109" y="7315"/>
                  </a:lnTo>
                  <a:lnTo>
                    <a:pt x="323684" y="28206"/>
                  </a:lnTo>
                  <a:lnTo>
                    <a:pt x="288937" y="61087"/>
                  </a:lnTo>
                  <a:lnTo>
                    <a:pt x="266293" y="104419"/>
                  </a:lnTo>
                  <a:lnTo>
                    <a:pt x="258191" y="156603"/>
                  </a:lnTo>
                  <a:lnTo>
                    <a:pt x="266280" y="208622"/>
                  </a:lnTo>
                  <a:lnTo>
                    <a:pt x="288912" y="251929"/>
                  </a:lnTo>
                  <a:lnTo>
                    <a:pt x="323672" y="284886"/>
                  </a:lnTo>
                  <a:lnTo>
                    <a:pt x="368096" y="305854"/>
                  </a:lnTo>
                  <a:lnTo>
                    <a:pt x="419760" y="313207"/>
                  </a:lnTo>
                  <a:lnTo>
                    <a:pt x="469798" y="306006"/>
                  </a:lnTo>
                  <a:lnTo>
                    <a:pt x="507885" y="287223"/>
                  </a:lnTo>
                  <a:lnTo>
                    <a:pt x="535495" y="261124"/>
                  </a:lnTo>
                  <a:lnTo>
                    <a:pt x="554139" y="231952"/>
                  </a:lnTo>
                  <a:lnTo>
                    <a:pt x="486943" y="200190"/>
                  </a:lnTo>
                  <a:lnTo>
                    <a:pt x="476643" y="217208"/>
                  </a:lnTo>
                  <a:lnTo>
                    <a:pt x="461352" y="231216"/>
                  </a:lnTo>
                  <a:lnTo>
                    <a:pt x="442074" y="240703"/>
                  </a:lnTo>
                  <a:lnTo>
                    <a:pt x="419760" y="244208"/>
                  </a:lnTo>
                  <a:lnTo>
                    <a:pt x="387032" y="237477"/>
                  </a:lnTo>
                  <a:lnTo>
                    <a:pt x="361010" y="218960"/>
                  </a:lnTo>
                  <a:lnTo>
                    <a:pt x="343827" y="191160"/>
                  </a:lnTo>
                  <a:lnTo>
                    <a:pt x="337629" y="156603"/>
                  </a:lnTo>
                  <a:lnTo>
                    <a:pt x="343827" y="122047"/>
                  </a:lnTo>
                  <a:lnTo>
                    <a:pt x="360984" y="94246"/>
                  </a:lnTo>
                  <a:lnTo>
                    <a:pt x="387007" y="75730"/>
                  </a:lnTo>
                  <a:lnTo>
                    <a:pt x="419760" y="69011"/>
                  </a:lnTo>
                  <a:lnTo>
                    <a:pt x="442074" y="72504"/>
                  </a:lnTo>
                  <a:lnTo>
                    <a:pt x="461352" y="81991"/>
                  </a:lnTo>
                  <a:lnTo>
                    <a:pt x="476643" y="95999"/>
                  </a:lnTo>
                  <a:lnTo>
                    <a:pt x="486943" y="113030"/>
                  </a:lnTo>
                  <a:lnTo>
                    <a:pt x="554139" y="81254"/>
                  </a:lnTo>
                  <a:close/>
                </a:path>
              </a:pathLst>
            </a:custGeom>
            <a:solidFill>
              <a:srgbClr val="FFFFFF"/>
            </a:solidFill>
          </p:spPr>
          <p:txBody>
            <a:bodyPr wrap="square" lIns="0" tIns="0" rIns="0" bIns="0" rtlCol="0"/>
            <a:lstStyle/>
            <a:p>
              <a:endParaRPr kern="0">
                <a:solidFill>
                  <a:sysClr val="windowText" lastClr="000000"/>
                </a:solidFill>
              </a:endParaRPr>
            </a:p>
          </p:txBody>
        </p:sp>
      </p:grpSp>
    </p:spTree>
    <p:extLst>
      <p:ext uri="{BB962C8B-B14F-4D97-AF65-F5344CB8AC3E}">
        <p14:creationId xmlns:p14="http://schemas.microsoft.com/office/powerpoint/2010/main" val="172669417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itleOnly" preserve="1">
  <p:cSld name="3_Title Only and Grapic - Dark">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485E03-52E8-3AF3-2238-DAC8C9B61935}"/>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8C16F05C-4BB9-7C82-C709-68EA2F74B897}"/>
              </a:ext>
            </a:extLst>
          </p:cNvPr>
          <p:cNvSpPr>
            <a:spLocks noGrp="1"/>
          </p:cNvSpPr>
          <p:nvPr>
            <p:ph type="dt" sz="half" idx="10"/>
          </p:nvPr>
        </p:nvSpPr>
        <p:spPr/>
        <p:txBody>
          <a:bodyPr/>
          <a:lstStyle>
            <a:lvl1pPr>
              <a:defRPr>
                <a:solidFill>
                  <a:schemeClr val="bg1"/>
                </a:solidFill>
              </a:defRPr>
            </a:lvl1pPr>
          </a:lstStyle>
          <a:p>
            <a:fld id="{BB73F1C2-9DBF-430B-A4AA-5518C9FCA26A}" type="datetime1">
              <a:rPr lang="en-US" smtClean="0"/>
              <a:t>4/2/2025</a:t>
            </a:fld>
            <a:endParaRPr lang="en-US"/>
          </a:p>
        </p:txBody>
      </p:sp>
      <p:sp>
        <p:nvSpPr>
          <p:cNvPr id="4" name="Footer Placeholder 3">
            <a:extLst>
              <a:ext uri="{FF2B5EF4-FFF2-40B4-BE49-F238E27FC236}">
                <a16:creationId xmlns:a16="http://schemas.microsoft.com/office/drawing/2014/main" id="{B562C211-B566-11DA-A38D-906051586563}"/>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object 24">
            <a:extLst>
              <a:ext uri="{FF2B5EF4-FFF2-40B4-BE49-F238E27FC236}">
                <a16:creationId xmlns:a16="http://schemas.microsoft.com/office/drawing/2014/main" id="{923F10B5-0EAF-6574-7B70-A5790ADE8361}"/>
              </a:ext>
            </a:extLst>
          </p:cNvPr>
          <p:cNvSpPr/>
          <p:nvPr userDrawn="1"/>
        </p:nvSpPr>
        <p:spPr>
          <a:xfrm>
            <a:off x="1588" y="343463"/>
            <a:ext cx="152457" cy="6170641"/>
          </a:xfrm>
          <a:custGeom>
            <a:avLst/>
            <a:gdLst/>
            <a:ahLst/>
            <a:cxnLst/>
            <a:rect l="l" t="t" r="r" b="b"/>
            <a:pathLst>
              <a:path w="251460" h="10177780">
                <a:moveTo>
                  <a:pt x="251301" y="0"/>
                </a:moveTo>
                <a:lnTo>
                  <a:pt x="0" y="0"/>
                </a:lnTo>
                <a:lnTo>
                  <a:pt x="0" y="10177700"/>
                </a:lnTo>
                <a:lnTo>
                  <a:pt x="251301" y="10177700"/>
                </a:lnTo>
                <a:lnTo>
                  <a:pt x="251301" y="0"/>
                </a:lnTo>
                <a:close/>
              </a:path>
            </a:pathLst>
          </a:custGeom>
          <a:solidFill>
            <a:schemeClr val="accent3"/>
          </a:solidFill>
        </p:spPr>
        <p:txBody>
          <a:bodyPr wrap="square" lIns="0" tIns="0" rIns="0" bIns="0" rtlCol="0"/>
          <a:lstStyle/>
          <a:p>
            <a:endParaRPr kern="0">
              <a:solidFill>
                <a:sysClr val="windowText" lastClr="000000"/>
              </a:solidFill>
            </a:endParaRPr>
          </a:p>
        </p:txBody>
      </p:sp>
      <p:grpSp>
        <p:nvGrpSpPr>
          <p:cNvPr id="8" name="Group 7">
            <a:extLst>
              <a:ext uri="{FF2B5EF4-FFF2-40B4-BE49-F238E27FC236}">
                <a16:creationId xmlns:a16="http://schemas.microsoft.com/office/drawing/2014/main" id="{78B2F06A-F1CF-5D54-0217-AA4A0655310D}"/>
              </a:ext>
            </a:extLst>
          </p:cNvPr>
          <p:cNvGrpSpPr/>
          <p:nvPr userDrawn="1"/>
        </p:nvGrpSpPr>
        <p:grpSpPr>
          <a:xfrm>
            <a:off x="10768672" y="6279572"/>
            <a:ext cx="694340" cy="190186"/>
            <a:chOff x="10768672" y="6279572"/>
            <a:chExt cx="694340" cy="190186"/>
          </a:xfrm>
        </p:grpSpPr>
        <p:grpSp>
          <p:nvGrpSpPr>
            <p:cNvPr id="9" name="object 26">
              <a:extLst>
                <a:ext uri="{FF2B5EF4-FFF2-40B4-BE49-F238E27FC236}">
                  <a16:creationId xmlns:a16="http://schemas.microsoft.com/office/drawing/2014/main" id="{A4BFEC00-746C-BBCA-2D05-083FC6A0D17D}"/>
                </a:ext>
              </a:extLst>
            </p:cNvPr>
            <p:cNvGrpSpPr/>
            <p:nvPr/>
          </p:nvGrpSpPr>
          <p:grpSpPr>
            <a:xfrm>
              <a:off x="10768672" y="6279841"/>
              <a:ext cx="348802" cy="189801"/>
              <a:chOff x="17759098" y="10356815"/>
              <a:chExt cx="575310" cy="313055"/>
            </a:xfrm>
          </p:grpSpPr>
          <p:sp>
            <p:nvSpPr>
              <p:cNvPr id="11" name="object 27">
                <a:extLst>
                  <a:ext uri="{FF2B5EF4-FFF2-40B4-BE49-F238E27FC236}">
                    <a16:creationId xmlns:a16="http://schemas.microsoft.com/office/drawing/2014/main" id="{2060E531-EB45-ED0F-74F3-87EF8519AE10}"/>
                  </a:ext>
                </a:extLst>
              </p:cNvPr>
              <p:cNvSpPr/>
              <p:nvPr/>
            </p:nvSpPr>
            <p:spPr>
              <a:xfrm>
                <a:off x="17759098" y="10361392"/>
                <a:ext cx="281940" cy="302895"/>
              </a:xfrm>
              <a:custGeom>
                <a:avLst/>
                <a:gdLst/>
                <a:ahLst/>
                <a:cxnLst/>
                <a:rect l="l" t="t" r="r" b="b"/>
                <a:pathLst>
                  <a:path w="281940" h="302895">
                    <a:moveTo>
                      <a:pt x="281478" y="0"/>
                    </a:moveTo>
                    <a:lnTo>
                      <a:pt x="202936" y="0"/>
                    </a:lnTo>
                    <a:lnTo>
                      <a:pt x="202936" y="174308"/>
                    </a:lnTo>
                    <a:lnTo>
                      <a:pt x="80364" y="0"/>
                    </a:lnTo>
                    <a:lnTo>
                      <a:pt x="0" y="0"/>
                    </a:lnTo>
                    <a:lnTo>
                      <a:pt x="0" y="302723"/>
                    </a:lnTo>
                    <a:lnTo>
                      <a:pt x="78049" y="302723"/>
                    </a:lnTo>
                    <a:lnTo>
                      <a:pt x="78049" y="119807"/>
                    </a:lnTo>
                    <a:lnTo>
                      <a:pt x="206129" y="302776"/>
                    </a:lnTo>
                    <a:lnTo>
                      <a:pt x="281478" y="302776"/>
                    </a:lnTo>
                    <a:lnTo>
                      <a:pt x="281478" y="0"/>
                    </a:lnTo>
                    <a:close/>
                  </a:path>
                </a:pathLst>
              </a:custGeom>
              <a:solidFill>
                <a:srgbClr val="FFFFFF"/>
              </a:solidFill>
            </p:spPr>
            <p:txBody>
              <a:bodyPr wrap="square" lIns="0" tIns="0" rIns="0" bIns="0" rtlCol="0"/>
              <a:lstStyle/>
              <a:p>
                <a:endParaRPr kern="0">
                  <a:solidFill>
                    <a:sysClr val="windowText" lastClr="000000"/>
                  </a:solidFill>
                </a:endParaRPr>
              </a:p>
            </p:txBody>
          </p:sp>
          <p:sp>
            <p:nvSpPr>
              <p:cNvPr id="12" name="object 28">
                <a:extLst>
                  <a:ext uri="{FF2B5EF4-FFF2-40B4-BE49-F238E27FC236}">
                    <a16:creationId xmlns:a16="http://schemas.microsoft.com/office/drawing/2014/main" id="{41550752-134D-D3EF-C3FC-A93BA5111737}"/>
                  </a:ext>
                </a:extLst>
              </p:cNvPr>
              <p:cNvSpPr/>
              <p:nvPr/>
            </p:nvSpPr>
            <p:spPr>
              <a:xfrm>
                <a:off x="18073618" y="10356815"/>
                <a:ext cx="260985" cy="313055"/>
              </a:xfrm>
              <a:custGeom>
                <a:avLst/>
                <a:gdLst/>
                <a:ahLst/>
                <a:cxnLst/>
                <a:rect l="l" t="t" r="r" b="b"/>
                <a:pathLst>
                  <a:path w="260984" h="313054">
                    <a:moveTo>
                      <a:pt x="130289" y="0"/>
                    </a:moveTo>
                    <a:lnTo>
                      <a:pt x="78682" y="7671"/>
                    </a:lnTo>
                    <a:lnTo>
                      <a:pt x="40822" y="28360"/>
                    </a:lnTo>
                    <a:lnTo>
                      <a:pt x="17523" y="58574"/>
                    </a:lnTo>
                    <a:lnTo>
                      <a:pt x="9601" y="94824"/>
                    </a:lnTo>
                    <a:lnTo>
                      <a:pt x="21302" y="138425"/>
                    </a:lnTo>
                    <a:lnTo>
                      <a:pt x="50787" y="165184"/>
                    </a:lnTo>
                    <a:lnTo>
                      <a:pt x="89631" y="180370"/>
                    </a:lnTo>
                    <a:lnTo>
                      <a:pt x="129409" y="189250"/>
                    </a:lnTo>
                    <a:lnTo>
                      <a:pt x="151085" y="194533"/>
                    </a:lnTo>
                    <a:lnTo>
                      <a:pt x="167360" y="200784"/>
                    </a:lnTo>
                    <a:lnTo>
                      <a:pt x="177593" y="208990"/>
                    </a:lnTo>
                    <a:lnTo>
                      <a:pt x="181146" y="220139"/>
                    </a:lnTo>
                    <a:lnTo>
                      <a:pt x="178169" y="230305"/>
                    </a:lnTo>
                    <a:lnTo>
                      <a:pt x="169613" y="238518"/>
                    </a:lnTo>
                    <a:lnTo>
                      <a:pt x="156042" y="244011"/>
                    </a:lnTo>
                    <a:lnTo>
                      <a:pt x="138016" y="246013"/>
                    </a:lnTo>
                    <a:lnTo>
                      <a:pt x="108540" y="242837"/>
                    </a:lnTo>
                    <a:lnTo>
                      <a:pt x="82344" y="234216"/>
                    </a:lnTo>
                    <a:lnTo>
                      <a:pt x="59809" y="221510"/>
                    </a:lnTo>
                    <a:lnTo>
                      <a:pt x="41318" y="206025"/>
                    </a:lnTo>
                    <a:lnTo>
                      <a:pt x="0" y="264599"/>
                    </a:lnTo>
                    <a:lnTo>
                      <a:pt x="25223" y="284356"/>
                    </a:lnTo>
                    <a:lnTo>
                      <a:pt x="55622" y="299531"/>
                    </a:lnTo>
                    <a:lnTo>
                      <a:pt x="91803" y="309266"/>
                    </a:lnTo>
                    <a:lnTo>
                      <a:pt x="134372" y="312702"/>
                    </a:lnTo>
                    <a:lnTo>
                      <a:pt x="188371" y="305443"/>
                    </a:lnTo>
                    <a:lnTo>
                      <a:pt x="227945" y="284908"/>
                    </a:lnTo>
                    <a:lnTo>
                      <a:pt x="252285" y="252965"/>
                    </a:lnTo>
                    <a:lnTo>
                      <a:pt x="260578" y="211480"/>
                    </a:lnTo>
                    <a:lnTo>
                      <a:pt x="249016" y="169435"/>
                    </a:lnTo>
                    <a:lnTo>
                      <a:pt x="219837" y="142952"/>
                    </a:lnTo>
                    <a:lnTo>
                      <a:pt x="181299" y="127359"/>
                    </a:lnTo>
                    <a:lnTo>
                      <a:pt x="141660" y="117985"/>
                    </a:lnTo>
                    <a:lnTo>
                      <a:pt x="119330" y="113216"/>
                    </a:lnTo>
                    <a:lnTo>
                      <a:pt x="102966" y="107720"/>
                    </a:lnTo>
                    <a:lnTo>
                      <a:pt x="92902" y="100435"/>
                    </a:lnTo>
                    <a:lnTo>
                      <a:pt x="89473" y="90300"/>
                    </a:lnTo>
                    <a:lnTo>
                      <a:pt x="91313" y="81050"/>
                    </a:lnTo>
                    <a:lnTo>
                      <a:pt x="97367" y="73551"/>
                    </a:lnTo>
                    <a:lnTo>
                      <a:pt x="108437" y="68524"/>
                    </a:lnTo>
                    <a:lnTo>
                      <a:pt x="125326" y="66689"/>
                    </a:lnTo>
                    <a:lnTo>
                      <a:pt x="146369" y="68645"/>
                    </a:lnTo>
                    <a:lnTo>
                      <a:pt x="168489" y="74516"/>
                    </a:lnTo>
                    <a:lnTo>
                      <a:pt x="190362" y="84305"/>
                    </a:lnTo>
                    <a:lnTo>
                      <a:pt x="210663" y="98017"/>
                    </a:lnTo>
                    <a:lnTo>
                      <a:pt x="253301" y="42197"/>
                    </a:lnTo>
                    <a:lnTo>
                      <a:pt x="227314" y="23920"/>
                    </a:lnTo>
                    <a:lnTo>
                      <a:pt x="197916" y="10713"/>
                    </a:lnTo>
                    <a:lnTo>
                      <a:pt x="165458" y="2698"/>
                    </a:lnTo>
                    <a:lnTo>
                      <a:pt x="130289" y="0"/>
                    </a:lnTo>
                    <a:close/>
                  </a:path>
                </a:pathLst>
              </a:custGeom>
              <a:solidFill>
                <a:srgbClr val="00BFFF"/>
              </a:solidFill>
            </p:spPr>
            <p:txBody>
              <a:bodyPr wrap="square" lIns="0" tIns="0" rIns="0" bIns="0" rtlCol="0"/>
              <a:lstStyle/>
              <a:p>
                <a:endParaRPr kern="0">
                  <a:solidFill>
                    <a:sysClr val="windowText" lastClr="000000"/>
                  </a:solidFill>
                </a:endParaRPr>
              </a:p>
            </p:txBody>
          </p:sp>
        </p:grpSp>
        <p:sp>
          <p:nvSpPr>
            <p:cNvPr id="10" name="object 29">
              <a:extLst>
                <a:ext uri="{FF2B5EF4-FFF2-40B4-BE49-F238E27FC236}">
                  <a16:creationId xmlns:a16="http://schemas.microsoft.com/office/drawing/2014/main" id="{EED65B49-03A2-753F-58E7-5B7B9BAF7ADF}"/>
                </a:ext>
              </a:extLst>
            </p:cNvPr>
            <p:cNvSpPr/>
            <p:nvPr/>
          </p:nvSpPr>
          <p:spPr>
            <a:xfrm>
              <a:off x="11126915" y="6279572"/>
              <a:ext cx="336097" cy="190186"/>
            </a:xfrm>
            <a:custGeom>
              <a:avLst/>
              <a:gdLst/>
              <a:ahLst/>
              <a:cxnLst/>
              <a:rect l="l" t="t" r="r" b="b"/>
              <a:pathLst>
                <a:path w="554355" h="313690">
                  <a:moveTo>
                    <a:pt x="247383" y="4508"/>
                  </a:moveTo>
                  <a:lnTo>
                    <a:pt x="0" y="4508"/>
                  </a:lnTo>
                  <a:lnTo>
                    <a:pt x="0" y="73088"/>
                  </a:lnTo>
                  <a:lnTo>
                    <a:pt x="84886" y="73088"/>
                  </a:lnTo>
                  <a:lnTo>
                    <a:pt x="84886" y="308038"/>
                  </a:lnTo>
                  <a:lnTo>
                    <a:pt x="162928" y="308038"/>
                  </a:lnTo>
                  <a:lnTo>
                    <a:pt x="162928" y="73088"/>
                  </a:lnTo>
                  <a:lnTo>
                    <a:pt x="247383" y="73088"/>
                  </a:lnTo>
                  <a:lnTo>
                    <a:pt x="247383" y="4508"/>
                  </a:lnTo>
                  <a:close/>
                </a:path>
                <a:path w="554355" h="313690">
                  <a:moveTo>
                    <a:pt x="554139" y="81254"/>
                  </a:moveTo>
                  <a:lnTo>
                    <a:pt x="535305" y="51714"/>
                  </a:lnTo>
                  <a:lnTo>
                    <a:pt x="507720" y="25654"/>
                  </a:lnTo>
                  <a:lnTo>
                    <a:pt x="469734" y="7086"/>
                  </a:lnTo>
                  <a:lnTo>
                    <a:pt x="419760" y="0"/>
                  </a:lnTo>
                  <a:lnTo>
                    <a:pt x="368109" y="7315"/>
                  </a:lnTo>
                  <a:lnTo>
                    <a:pt x="323684" y="28206"/>
                  </a:lnTo>
                  <a:lnTo>
                    <a:pt x="288937" y="61087"/>
                  </a:lnTo>
                  <a:lnTo>
                    <a:pt x="266293" y="104419"/>
                  </a:lnTo>
                  <a:lnTo>
                    <a:pt x="258191" y="156603"/>
                  </a:lnTo>
                  <a:lnTo>
                    <a:pt x="266280" y="208622"/>
                  </a:lnTo>
                  <a:lnTo>
                    <a:pt x="288912" y="251929"/>
                  </a:lnTo>
                  <a:lnTo>
                    <a:pt x="323672" y="284886"/>
                  </a:lnTo>
                  <a:lnTo>
                    <a:pt x="368096" y="305854"/>
                  </a:lnTo>
                  <a:lnTo>
                    <a:pt x="419760" y="313207"/>
                  </a:lnTo>
                  <a:lnTo>
                    <a:pt x="469798" y="306006"/>
                  </a:lnTo>
                  <a:lnTo>
                    <a:pt x="507885" y="287223"/>
                  </a:lnTo>
                  <a:lnTo>
                    <a:pt x="535495" y="261124"/>
                  </a:lnTo>
                  <a:lnTo>
                    <a:pt x="554139" y="231952"/>
                  </a:lnTo>
                  <a:lnTo>
                    <a:pt x="486943" y="200190"/>
                  </a:lnTo>
                  <a:lnTo>
                    <a:pt x="476643" y="217208"/>
                  </a:lnTo>
                  <a:lnTo>
                    <a:pt x="461352" y="231216"/>
                  </a:lnTo>
                  <a:lnTo>
                    <a:pt x="442074" y="240703"/>
                  </a:lnTo>
                  <a:lnTo>
                    <a:pt x="419760" y="244208"/>
                  </a:lnTo>
                  <a:lnTo>
                    <a:pt x="387032" y="237477"/>
                  </a:lnTo>
                  <a:lnTo>
                    <a:pt x="361010" y="218960"/>
                  </a:lnTo>
                  <a:lnTo>
                    <a:pt x="343827" y="191160"/>
                  </a:lnTo>
                  <a:lnTo>
                    <a:pt x="337629" y="156603"/>
                  </a:lnTo>
                  <a:lnTo>
                    <a:pt x="343827" y="122047"/>
                  </a:lnTo>
                  <a:lnTo>
                    <a:pt x="360984" y="94246"/>
                  </a:lnTo>
                  <a:lnTo>
                    <a:pt x="387007" y="75730"/>
                  </a:lnTo>
                  <a:lnTo>
                    <a:pt x="419760" y="69011"/>
                  </a:lnTo>
                  <a:lnTo>
                    <a:pt x="442074" y="72504"/>
                  </a:lnTo>
                  <a:lnTo>
                    <a:pt x="461352" y="81991"/>
                  </a:lnTo>
                  <a:lnTo>
                    <a:pt x="476643" y="95999"/>
                  </a:lnTo>
                  <a:lnTo>
                    <a:pt x="486943" y="113030"/>
                  </a:lnTo>
                  <a:lnTo>
                    <a:pt x="554139" y="81254"/>
                  </a:lnTo>
                  <a:close/>
                </a:path>
              </a:pathLst>
            </a:custGeom>
            <a:solidFill>
              <a:srgbClr val="FFFFFF"/>
            </a:solidFill>
          </p:spPr>
          <p:txBody>
            <a:bodyPr wrap="square" lIns="0" tIns="0" rIns="0" bIns="0" rtlCol="0"/>
            <a:lstStyle/>
            <a:p>
              <a:endParaRPr kern="0">
                <a:solidFill>
                  <a:sysClr val="windowText" lastClr="000000"/>
                </a:solidFill>
              </a:endParaRPr>
            </a:p>
          </p:txBody>
        </p:sp>
      </p:grpSp>
    </p:spTree>
    <p:extLst>
      <p:ext uri="{BB962C8B-B14F-4D97-AF65-F5344CB8AC3E}">
        <p14:creationId xmlns:p14="http://schemas.microsoft.com/office/powerpoint/2010/main" val="383877814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3_Title with Overlay">
    <p:bg>
      <p:bgPr>
        <a:solidFill>
          <a:schemeClr val="tx2"/>
        </a:solidFill>
        <a:effectLst/>
      </p:bgPr>
    </p:bg>
    <p:spTree>
      <p:nvGrpSpPr>
        <p:cNvPr id="1" name=""/>
        <p:cNvGrpSpPr/>
        <p:nvPr/>
      </p:nvGrpSpPr>
      <p:grpSpPr>
        <a:xfrm>
          <a:off x="0" y="0"/>
          <a:ext cx="0" cy="0"/>
          <a:chOff x="0" y="0"/>
          <a:chExt cx="0" cy="0"/>
        </a:xfrm>
      </p:grpSpPr>
      <p:sp>
        <p:nvSpPr>
          <p:cNvPr id="25" name="Date Placeholder 24">
            <a:extLst>
              <a:ext uri="{FF2B5EF4-FFF2-40B4-BE49-F238E27FC236}">
                <a16:creationId xmlns:a16="http://schemas.microsoft.com/office/drawing/2014/main" id="{A57172BC-5EB5-C0CF-6CC0-97CFD6F72CB5}"/>
              </a:ext>
            </a:extLst>
          </p:cNvPr>
          <p:cNvSpPr>
            <a:spLocks noGrp="1"/>
          </p:cNvSpPr>
          <p:nvPr>
            <p:ph type="dt" sz="half" idx="10"/>
          </p:nvPr>
        </p:nvSpPr>
        <p:spPr/>
        <p:txBody>
          <a:bodyPr/>
          <a:lstStyle/>
          <a:p>
            <a:fld id="{37C97C5C-51A1-4CF1-893C-6F4FBB206C3F}" type="datetime1">
              <a:rPr lang="en-US" smtClean="0"/>
              <a:t>4/2/2025</a:t>
            </a:fld>
            <a:endParaRPr lang="en-US"/>
          </a:p>
        </p:txBody>
      </p:sp>
      <p:sp>
        <p:nvSpPr>
          <p:cNvPr id="26" name="Footer Placeholder 25">
            <a:extLst>
              <a:ext uri="{FF2B5EF4-FFF2-40B4-BE49-F238E27FC236}">
                <a16:creationId xmlns:a16="http://schemas.microsoft.com/office/drawing/2014/main" id="{92257F35-DE6E-9549-6ECF-1D42BE651129}"/>
              </a:ext>
            </a:extLst>
          </p:cNvPr>
          <p:cNvSpPr>
            <a:spLocks noGrp="1"/>
          </p:cNvSpPr>
          <p:nvPr>
            <p:ph type="ftr" sz="quarter" idx="11"/>
          </p:nvPr>
        </p:nvSpPr>
        <p:spPr/>
        <p:txBody>
          <a:bodyPr/>
          <a:lstStyle/>
          <a:p>
            <a:endParaRPr lang="en-US"/>
          </a:p>
        </p:txBody>
      </p:sp>
      <p:pic>
        <p:nvPicPr>
          <p:cNvPr id="4" name="object 4">
            <a:extLst>
              <a:ext uri="{FF2B5EF4-FFF2-40B4-BE49-F238E27FC236}">
                <a16:creationId xmlns:a16="http://schemas.microsoft.com/office/drawing/2014/main" id="{6B47318C-4C7C-9AC6-7295-C82E7586571D}"/>
              </a:ext>
            </a:extLst>
          </p:cNvPr>
          <p:cNvPicPr/>
          <p:nvPr/>
        </p:nvPicPr>
        <p:blipFill>
          <a:blip r:embed="rId2" cstate="print">
            <a:extLst>
              <a:ext uri="{BEBA8EAE-BF5A-486C-A8C5-ECC9F3942E4B}">
                <a14:imgProps xmlns:a14="http://schemas.microsoft.com/office/drawing/2010/main">
                  <a14:imgLayer r:embed="rId3">
                    <a14:imgEffect>
                      <a14:saturation sat="248000"/>
                    </a14:imgEffect>
                    <a14:imgEffect>
                      <a14:brightnessContrast bright="-39000"/>
                    </a14:imgEffect>
                  </a14:imgLayer>
                </a14:imgProps>
              </a:ext>
            </a:extLst>
          </a:blip>
          <a:stretch>
            <a:fillRect/>
          </a:stretch>
        </p:blipFill>
        <p:spPr>
          <a:xfrm>
            <a:off x="-8365" y="1785"/>
            <a:ext cx="12188825" cy="6856215"/>
          </a:xfrm>
          <a:prstGeom prst="rect">
            <a:avLst/>
          </a:prstGeom>
        </p:spPr>
      </p:pic>
      <p:sp>
        <p:nvSpPr>
          <p:cNvPr id="5" name="object 5">
            <a:extLst>
              <a:ext uri="{FF2B5EF4-FFF2-40B4-BE49-F238E27FC236}">
                <a16:creationId xmlns:a16="http://schemas.microsoft.com/office/drawing/2014/main" id="{67A66EC3-1C95-4734-B2D5-580258F8E8C3}"/>
              </a:ext>
            </a:extLst>
          </p:cNvPr>
          <p:cNvSpPr/>
          <p:nvPr/>
        </p:nvSpPr>
        <p:spPr>
          <a:xfrm>
            <a:off x="16343" y="4520"/>
            <a:ext cx="12188826" cy="6856312"/>
          </a:xfrm>
          <a:custGeom>
            <a:avLst/>
            <a:gdLst/>
            <a:ahLst/>
            <a:cxnLst/>
            <a:rect l="l" t="t" r="r" b="b"/>
            <a:pathLst>
              <a:path w="20104100" h="11308715">
                <a:moveTo>
                  <a:pt x="20104100" y="0"/>
                </a:moveTo>
                <a:lnTo>
                  <a:pt x="0" y="0"/>
                </a:lnTo>
                <a:lnTo>
                  <a:pt x="0" y="11308556"/>
                </a:lnTo>
                <a:lnTo>
                  <a:pt x="20104100" y="11308556"/>
                </a:lnTo>
                <a:lnTo>
                  <a:pt x="20104100" y="0"/>
                </a:lnTo>
                <a:close/>
              </a:path>
            </a:pathLst>
          </a:custGeom>
          <a:solidFill>
            <a:srgbClr val="A3AFB8">
              <a:alpha val="10000"/>
            </a:srgbClr>
          </a:solidFill>
        </p:spPr>
        <p:txBody>
          <a:bodyPr wrap="square" lIns="0" tIns="0" rIns="0" bIns="0" rtlCol="0"/>
          <a:lstStyle/>
          <a:p>
            <a:endParaRPr/>
          </a:p>
        </p:txBody>
      </p:sp>
      <p:pic>
        <p:nvPicPr>
          <p:cNvPr id="6" name="object 6">
            <a:extLst>
              <a:ext uri="{FF2B5EF4-FFF2-40B4-BE49-F238E27FC236}">
                <a16:creationId xmlns:a16="http://schemas.microsoft.com/office/drawing/2014/main" id="{A3B608DA-4897-AE5C-BF4F-4699CDEF9782}"/>
              </a:ext>
            </a:extLst>
          </p:cNvPr>
          <p:cNvPicPr/>
          <p:nvPr/>
        </p:nvPicPr>
        <p:blipFill>
          <a:blip r:embed="rId4" cstate="print">
            <a:alphaModFix amt="30000"/>
          </a:blip>
          <a:srcRect b="50000"/>
          <a:stretch/>
        </p:blipFill>
        <p:spPr>
          <a:xfrm>
            <a:off x="-13167" y="-3105"/>
            <a:ext cx="12188824" cy="6918255"/>
          </a:xfrm>
          <a:prstGeom prst="rect">
            <a:avLst/>
          </a:prstGeom>
        </p:spPr>
      </p:pic>
      <p:sp>
        <p:nvSpPr>
          <p:cNvPr id="19" name="Slide Number Box">
            <a:extLst>
              <a:ext uri="{FF2B5EF4-FFF2-40B4-BE49-F238E27FC236}">
                <a16:creationId xmlns:a16="http://schemas.microsoft.com/office/drawing/2014/main" id="{E4D665D4-9456-4BFE-7EC3-05AB4B0AE735}"/>
              </a:ext>
            </a:extLst>
          </p:cNvPr>
          <p:cNvSpPr txBox="1"/>
          <p:nvPr userDrawn="1"/>
        </p:nvSpPr>
        <p:spPr>
          <a:xfrm>
            <a:off x="11566535" y="6234575"/>
            <a:ext cx="279503" cy="283464"/>
          </a:xfrm>
          <a:prstGeom prst="rect">
            <a:avLst/>
          </a:prstGeom>
          <a:solidFill>
            <a:srgbClr val="FFD700"/>
          </a:solidFill>
        </p:spPr>
        <p:txBody>
          <a:bodyPr vert="horz" wrap="square" lIns="0" tIns="38884" rIns="0" bIns="0" rtlCol="0">
            <a:spAutoFit/>
          </a:bodyPr>
          <a:lstStyle/>
          <a:p>
            <a:pPr marL="55825" algn="ctr">
              <a:spcBef>
                <a:spcPts val="306"/>
              </a:spcBef>
            </a:pPr>
            <a:endParaRPr sz="1182">
              <a:latin typeface="Real Head Pro"/>
              <a:cs typeface="Real Head Pro"/>
            </a:endParaRPr>
          </a:p>
        </p:txBody>
      </p:sp>
      <p:sp>
        <p:nvSpPr>
          <p:cNvPr id="29" name="Slide Number Placeholder 29">
            <a:extLst>
              <a:ext uri="{FF2B5EF4-FFF2-40B4-BE49-F238E27FC236}">
                <a16:creationId xmlns:a16="http://schemas.microsoft.com/office/drawing/2014/main" id="{6E382458-B723-C4B9-E69F-E964EF9F325C}"/>
              </a:ext>
            </a:extLst>
          </p:cNvPr>
          <p:cNvSpPr>
            <a:spLocks noGrp="1"/>
          </p:cNvSpPr>
          <p:nvPr userDrawn="1">
            <p:ph type="sldNum" sz="quarter" idx="12"/>
          </p:nvPr>
        </p:nvSpPr>
        <p:spPr>
          <a:xfrm>
            <a:off x="11562574" y="6234576"/>
            <a:ext cx="283464" cy="283464"/>
          </a:xfrm>
        </p:spPr>
        <p:txBody>
          <a:bodyPr/>
          <a:lstStyle/>
          <a:p>
            <a:fld id="{FF7D9A68-EC15-4B1F-850C-8A6CCAFA90D8}" type="slidenum">
              <a:rPr lang="en-US" smtClean="0"/>
              <a:pPr/>
              <a:t>‹#›</a:t>
            </a:fld>
            <a:endParaRPr lang="en-US"/>
          </a:p>
        </p:txBody>
      </p:sp>
      <p:sp>
        <p:nvSpPr>
          <p:cNvPr id="24" name="Title 23">
            <a:extLst>
              <a:ext uri="{FF2B5EF4-FFF2-40B4-BE49-F238E27FC236}">
                <a16:creationId xmlns:a16="http://schemas.microsoft.com/office/drawing/2014/main" id="{CEBB91A9-6F0E-2D55-308F-665EE784ADE5}"/>
              </a:ext>
            </a:extLst>
          </p:cNvPr>
          <p:cNvSpPr>
            <a:spLocks noGrp="1"/>
          </p:cNvSpPr>
          <p:nvPr userDrawn="1">
            <p:ph type="title"/>
          </p:nvPr>
        </p:nvSpPr>
        <p:spPr/>
        <p:txBody>
          <a:bodyPr anchor="ctr"/>
          <a:lstStyle>
            <a:lvl1pPr>
              <a:defRPr>
                <a:solidFill>
                  <a:schemeClr val="bg1"/>
                </a:solidFill>
              </a:defRPr>
            </a:lvl1pPr>
          </a:lstStyle>
          <a:p>
            <a:r>
              <a:rPr lang="en-US"/>
              <a:t>Click to edit Master title style</a:t>
            </a:r>
          </a:p>
        </p:txBody>
      </p:sp>
      <p:pic>
        <p:nvPicPr>
          <p:cNvPr id="3" name="Graphic 2">
            <a:extLst>
              <a:ext uri="{FF2B5EF4-FFF2-40B4-BE49-F238E27FC236}">
                <a16:creationId xmlns:a16="http://schemas.microsoft.com/office/drawing/2014/main" id="{8F72E680-3130-5978-71DE-5A41A2299AD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755910" y="6285404"/>
            <a:ext cx="706755" cy="192024"/>
          </a:xfrm>
          <a:prstGeom prst="rect">
            <a:avLst/>
          </a:prstGeom>
        </p:spPr>
      </p:pic>
    </p:spTree>
    <p:extLst>
      <p:ext uri="{BB962C8B-B14F-4D97-AF65-F5344CB8AC3E}">
        <p14:creationId xmlns:p14="http://schemas.microsoft.com/office/powerpoint/2010/main" val="40724040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CF42569B-14C1-480A-826C-27D70A3288BE}" type="datetimeFigureOut">
              <a:rPr lang="en-US" smtClean="0"/>
              <a:t>4/2/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B05F229-852D-4A77-95BA-3D996206520B}" type="slidenum">
              <a:rPr lang="en-US" smtClean="0"/>
              <a:t>‹#›</a:t>
            </a:fld>
            <a:endParaRPr lang="en-US"/>
          </a:p>
        </p:txBody>
      </p:sp>
    </p:spTree>
    <p:extLst>
      <p:ext uri="{BB962C8B-B14F-4D97-AF65-F5344CB8AC3E}">
        <p14:creationId xmlns:p14="http://schemas.microsoft.com/office/powerpoint/2010/main" val="237269827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Tech Background Image">
    <p:bg>
      <p:bgPr>
        <a:solidFill>
          <a:schemeClr val="accent1"/>
        </a:solidFill>
        <a:effectLst/>
      </p:bgPr>
    </p:bg>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29D9B89B-6C49-FE14-4CC5-06BF022C9EFD}"/>
              </a:ext>
            </a:extLst>
          </p:cNvPr>
          <p:cNvPicPr>
            <a:picLocks noChangeAspect="1" noChangeArrowheads="1"/>
          </p:cNvPicPr>
          <p:nvPr userDrawn="1"/>
        </p:nvPicPr>
        <p:blipFill rotWithShape="1">
          <a:blip r:embed="rId2">
            <a:alphaModFix amt="25000"/>
            <a:extLst>
              <a:ext uri="{28A0092B-C50C-407E-A947-70E740481C1C}">
                <a14:useLocalDpi xmlns:a14="http://schemas.microsoft.com/office/drawing/2010/main" val="0"/>
              </a:ext>
            </a:extLst>
          </a:blip>
          <a:srcRect l="10754" t="14777" r="10573" b="6513"/>
          <a:stretch/>
        </p:blipFill>
        <p:spPr bwMode="auto">
          <a:xfrm>
            <a:off x="1588" y="0"/>
            <a:ext cx="12188824" cy="6858000"/>
          </a:xfrm>
          <a:prstGeom prst="rect">
            <a:avLst/>
          </a:prstGeom>
          <a:noFill/>
          <a:extLst>
            <a:ext uri="{909E8E84-426E-40DD-AFC4-6F175D3DCCD1}">
              <a14:hiddenFill xmlns:a14="http://schemas.microsoft.com/office/drawing/2010/main">
                <a:solidFill>
                  <a:srgbClr val="FFFFFF"/>
                </a:solidFill>
              </a14:hiddenFill>
            </a:ext>
          </a:extLst>
        </p:spPr>
      </p:pic>
      <p:pic>
        <p:nvPicPr>
          <p:cNvPr id="7" name="object 6">
            <a:extLst>
              <a:ext uri="{FF2B5EF4-FFF2-40B4-BE49-F238E27FC236}">
                <a16:creationId xmlns:a16="http://schemas.microsoft.com/office/drawing/2014/main" id="{AE39237E-7A8D-CC3A-789F-2C0F7108819C}"/>
              </a:ext>
            </a:extLst>
          </p:cNvPr>
          <p:cNvPicPr/>
          <p:nvPr userDrawn="1"/>
        </p:nvPicPr>
        <p:blipFill>
          <a:blip r:embed="rId3" cstate="print">
            <a:alphaModFix amt="15000"/>
          </a:blip>
          <a:stretch>
            <a:fillRect/>
          </a:stretch>
        </p:blipFill>
        <p:spPr>
          <a:xfrm>
            <a:off x="0" y="0"/>
            <a:ext cx="12344400" cy="7009507"/>
          </a:xfrm>
          <a:prstGeom prst="rect">
            <a:avLst/>
          </a:prstGeom>
        </p:spPr>
      </p:pic>
      <p:pic>
        <p:nvPicPr>
          <p:cNvPr id="6" name="object 6">
            <a:extLst>
              <a:ext uri="{FF2B5EF4-FFF2-40B4-BE49-F238E27FC236}">
                <a16:creationId xmlns:a16="http://schemas.microsoft.com/office/drawing/2014/main" id="{9708983F-1698-E50D-7FA5-483DE66E4A6A}"/>
              </a:ext>
            </a:extLst>
          </p:cNvPr>
          <p:cNvPicPr/>
          <p:nvPr userDrawn="1"/>
        </p:nvPicPr>
        <p:blipFill>
          <a:blip r:embed="rId3" cstate="print">
            <a:alphaModFix amt="15000"/>
          </a:blip>
          <a:stretch>
            <a:fillRect/>
          </a:stretch>
        </p:blipFill>
        <p:spPr>
          <a:xfrm>
            <a:off x="0" y="1786"/>
            <a:ext cx="12188824" cy="6856214"/>
          </a:xfrm>
          <a:prstGeom prst="rect">
            <a:avLst/>
          </a:prstGeom>
        </p:spPr>
      </p:pic>
      <p:sp>
        <p:nvSpPr>
          <p:cNvPr id="2" name="Title 1">
            <a:extLst>
              <a:ext uri="{FF2B5EF4-FFF2-40B4-BE49-F238E27FC236}">
                <a16:creationId xmlns:a16="http://schemas.microsoft.com/office/drawing/2014/main" id="{8B7410AC-AD64-E7AB-9C75-4011FECA552E}"/>
              </a:ext>
            </a:extLst>
          </p:cNvPr>
          <p:cNvSpPr>
            <a:spLocks noGrp="1"/>
          </p:cNvSpPr>
          <p:nvPr>
            <p:ph type="title"/>
          </p:nvPr>
        </p:nvSpPr>
        <p:spPr/>
        <p:txBody>
          <a:bodyPr anchor="ct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5F0C5D14-38AD-28B4-69C1-23A1DC77784E}"/>
              </a:ext>
            </a:extLst>
          </p:cNvPr>
          <p:cNvSpPr>
            <a:spLocks noGrp="1"/>
          </p:cNvSpPr>
          <p:nvPr>
            <p:ph type="dt" sz="half" idx="10"/>
          </p:nvPr>
        </p:nvSpPr>
        <p:spPr/>
        <p:txBody>
          <a:bodyPr/>
          <a:lstStyle/>
          <a:p>
            <a:fld id="{0FA80E76-16DC-4217-82F7-2241F6A8A725}" type="datetime1">
              <a:rPr lang="en-US" smtClean="0"/>
              <a:t>4/2/2025</a:t>
            </a:fld>
            <a:endParaRPr lang="en-US"/>
          </a:p>
        </p:txBody>
      </p:sp>
      <p:sp>
        <p:nvSpPr>
          <p:cNvPr id="4" name="Footer Placeholder 3">
            <a:extLst>
              <a:ext uri="{FF2B5EF4-FFF2-40B4-BE49-F238E27FC236}">
                <a16:creationId xmlns:a16="http://schemas.microsoft.com/office/drawing/2014/main" id="{EA640E17-A7E4-A9D8-6E13-2A5E89BB1703}"/>
              </a:ext>
            </a:extLst>
          </p:cNvPr>
          <p:cNvSpPr>
            <a:spLocks noGrp="1"/>
          </p:cNvSpPr>
          <p:nvPr>
            <p:ph type="ftr" sz="quarter" idx="11"/>
          </p:nvPr>
        </p:nvSpPr>
        <p:spPr/>
        <p:txBody>
          <a:bodyPr/>
          <a:lstStyle/>
          <a:p>
            <a:endParaRPr lang="en-US"/>
          </a:p>
        </p:txBody>
      </p:sp>
      <p:sp>
        <p:nvSpPr>
          <p:cNvPr id="20" name="Slide Number Box">
            <a:extLst>
              <a:ext uri="{FF2B5EF4-FFF2-40B4-BE49-F238E27FC236}">
                <a16:creationId xmlns:a16="http://schemas.microsoft.com/office/drawing/2014/main" id="{D9C7A0F6-5910-C0B5-199D-DAA68A4E026F}"/>
              </a:ext>
            </a:extLst>
          </p:cNvPr>
          <p:cNvSpPr txBox="1"/>
          <p:nvPr userDrawn="1"/>
        </p:nvSpPr>
        <p:spPr>
          <a:xfrm>
            <a:off x="11566535" y="6234575"/>
            <a:ext cx="279503" cy="283464"/>
          </a:xfrm>
          <a:prstGeom prst="rect">
            <a:avLst/>
          </a:prstGeom>
          <a:solidFill>
            <a:srgbClr val="FFD700"/>
          </a:solidFill>
        </p:spPr>
        <p:txBody>
          <a:bodyPr vert="horz" wrap="square" lIns="0" tIns="38884" rIns="0" bIns="0" rtlCol="0">
            <a:spAutoFit/>
          </a:bodyPr>
          <a:lstStyle/>
          <a:p>
            <a:pPr marL="55825" algn="ctr">
              <a:spcBef>
                <a:spcPts val="306"/>
              </a:spcBef>
            </a:pPr>
            <a:endParaRPr sz="1182">
              <a:latin typeface="Real Head Pro"/>
              <a:cs typeface="Real Head Pro"/>
            </a:endParaRPr>
          </a:p>
        </p:txBody>
      </p:sp>
      <p:sp>
        <p:nvSpPr>
          <p:cNvPr id="5" name="Slide Number Placeholder 4">
            <a:extLst>
              <a:ext uri="{FF2B5EF4-FFF2-40B4-BE49-F238E27FC236}">
                <a16:creationId xmlns:a16="http://schemas.microsoft.com/office/drawing/2014/main" id="{7457052D-6E27-FBC0-A40D-D914851C4C3C}"/>
              </a:ext>
            </a:extLst>
          </p:cNvPr>
          <p:cNvSpPr>
            <a:spLocks noGrp="1"/>
          </p:cNvSpPr>
          <p:nvPr>
            <p:ph type="sldNum" sz="quarter" idx="12"/>
          </p:nvPr>
        </p:nvSpPr>
        <p:spPr/>
        <p:txBody>
          <a:bodyPr/>
          <a:lstStyle/>
          <a:p>
            <a:fld id="{FF7D9A68-EC15-4B1F-850C-8A6CCAFA90D8}" type="slidenum">
              <a:rPr lang="en-US" smtClean="0"/>
              <a:pPr/>
              <a:t>‹#›</a:t>
            </a:fld>
            <a:endParaRPr lang="en-US"/>
          </a:p>
        </p:txBody>
      </p:sp>
      <p:pic>
        <p:nvPicPr>
          <p:cNvPr id="8" name="Graphic 7">
            <a:extLst>
              <a:ext uri="{FF2B5EF4-FFF2-40B4-BE49-F238E27FC236}">
                <a16:creationId xmlns:a16="http://schemas.microsoft.com/office/drawing/2014/main" id="{630F1DBA-1688-B47C-928D-6268E4BE6B2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755910" y="6285404"/>
            <a:ext cx="706755" cy="192024"/>
          </a:xfrm>
          <a:prstGeom prst="rect">
            <a:avLst/>
          </a:prstGeom>
        </p:spPr>
      </p:pic>
    </p:spTree>
    <p:extLst>
      <p:ext uri="{BB962C8B-B14F-4D97-AF65-F5344CB8AC3E}">
        <p14:creationId xmlns:p14="http://schemas.microsoft.com/office/powerpoint/2010/main" val="344517841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Title and Eyebrow with graphic Dark">
    <p:bg>
      <p:bgPr>
        <a:solidFill>
          <a:schemeClr val="tx2"/>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C16F05C-4BB9-7C82-C709-68EA2F74B897}"/>
              </a:ext>
            </a:extLst>
          </p:cNvPr>
          <p:cNvSpPr>
            <a:spLocks noGrp="1"/>
          </p:cNvSpPr>
          <p:nvPr>
            <p:ph type="dt" sz="half" idx="10"/>
          </p:nvPr>
        </p:nvSpPr>
        <p:spPr/>
        <p:txBody>
          <a:bodyPr/>
          <a:lstStyle/>
          <a:p>
            <a:fld id="{25C5368F-9A74-48DE-A73B-941C9E569E03}" type="datetime1">
              <a:rPr lang="en-US" smtClean="0"/>
              <a:t>4/2/2025</a:t>
            </a:fld>
            <a:endParaRPr lang="en-US"/>
          </a:p>
        </p:txBody>
      </p:sp>
      <p:sp>
        <p:nvSpPr>
          <p:cNvPr id="4" name="Footer Placeholder 3">
            <a:extLst>
              <a:ext uri="{FF2B5EF4-FFF2-40B4-BE49-F238E27FC236}">
                <a16:creationId xmlns:a16="http://schemas.microsoft.com/office/drawing/2014/main" id="{B562C211-B566-11DA-A38D-906051586563}"/>
              </a:ext>
            </a:extLst>
          </p:cNvPr>
          <p:cNvSpPr>
            <a:spLocks noGrp="1"/>
          </p:cNvSpPr>
          <p:nvPr>
            <p:ph type="ftr" sz="quarter" idx="11"/>
          </p:nvPr>
        </p:nvSpPr>
        <p:spPr/>
        <p:txBody>
          <a:bodyPr/>
          <a:lstStyle/>
          <a:p>
            <a:endParaRPr lang="en-US"/>
          </a:p>
        </p:txBody>
      </p:sp>
      <p:sp>
        <p:nvSpPr>
          <p:cNvPr id="6" name="object 24">
            <a:extLst>
              <a:ext uri="{FF2B5EF4-FFF2-40B4-BE49-F238E27FC236}">
                <a16:creationId xmlns:a16="http://schemas.microsoft.com/office/drawing/2014/main" id="{E5F920B2-E5F2-B5E1-9A23-2C5EE88B6F55}"/>
              </a:ext>
            </a:extLst>
          </p:cNvPr>
          <p:cNvSpPr/>
          <p:nvPr userDrawn="1"/>
        </p:nvSpPr>
        <p:spPr>
          <a:xfrm>
            <a:off x="1588" y="343463"/>
            <a:ext cx="152457" cy="6170641"/>
          </a:xfrm>
          <a:custGeom>
            <a:avLst/>
            <a:gdLst/>
            <a:ahLst/>
            <a:cxnLst/>
            <a:rect l="l" t="t" r="r" b="b"/>
            <a:pathLst>
              <a:path w="251460" h="10177780">
                <a:moveTo>
                  <a:pt x="251301" y="0"/>
                </a:moveTo>
                <a:lnTo>
                  <a:pt x="0" y="0"/>
                </a:lnTo>
                <a:lnTo>
                  <a:pt x="0" y="10177700"/>
                </a:lnTo>
                <a:lnTo>
                  <a:pt x="251301" y="10177700"/>
                </a:lnTo>
                <a:lnTo>
                  <a:pt x="251301" y="0"/>
                </a:lnTo>
                <a:close/>
              </a:path>
            </a:pathLst>
          </a:custGeom>
          <a:solidFill>
            <a:schemeClr val="accent4"/>
          </a:solidFill>
        </p:spPr>
        <p:txBody>
          <a:bodyPr wrap="square" lIns="0" tIns="0" rIns="0" bIns="0" rtlCol="0"/>
          <a:lstStyle/>
          <a:p>
            <a:endParaRPr kern="0">
              <a:solidFill>
                <a:sysClr val="windowText" lastClr="000000"/>
              </a:solidFill>
            </a:endParaRPr>
          </a:p>
        </p:txBody>
      </p:sp>
      <p:sp>
        <p:nvSpPr>
          <p:cNvPr id="7" name="Text Placeholder 32">
            <a:extLst>
              <a:ext uri="{FF2B5EF4-FFF2-40B4-BE49-F238E27FC236}">
                <a16:creationId xmlns:a16="http://schemas.microsoft.com/office/drawing/2014/main" id="{76176889-EC90-7074-D8BD-FB8FBFBCB343}"/>
              </a:ext>
            </a:extLst>
          </p:cNvPr>
          <p:cNvSpPr>
            <a:spLocks noGrp="1"/>
          </p:cNvSpPr>
          <p:nvPr>
            <p:ph type="body" sz="quarter" idx="14" hasCustomPrompt="1"/>
          </p:nvPr>
        </p:nvSpPr>
        <p:spPr>
          <a:xfrm>
            <a:off x="763623" y="789856"/>
            <a:ext cx="10972800" cy="457200"/>
          </a:xfrm>
        </p:spPr>
        <p:txBody>
          <a:bodyPr anchor="b"/>
          <a:lstStyle>
            <a:lvl1pPr marL="0" indent="0">
              <a:spcBef>
                <a:spcPts val="0"/>
              </a:spcBef>
              <a:buNone/>
              <a:defRPr sz="3150">
                <a:solidFill>
                  <a:schemeClr val="bg2"/>
                </a:solidFill>
                <a:latin typeface="+mj-lt"/>
              </a:defRPr>
            </a:lvl1pPr>
          </a:lstStyle>
          <a:p>
            <a:pPr lvl="0"/>
            <a:r>
              <a:rPr lang="en-US"/>
              <a:t>Heading</a:t>
            </a:r>
          </a:p>
        </p:txBody>
      </p:sp>
      <p:sp>
        <p:nvSpPr>
          <p:cNvPr id="2" name="Text Placeholder 9">
            <a:extLst>
              <a:ext uri="{FF2B5EF4-FFF2-40B4-BE49-F238E27FC236}">
                <a16:creationId xmlns:a16="http://schemas.microsoft.com/office/drawing/2014/main" id="{892A23AA-62D6-9D6B-93E6-E42206E7374A}"/>
              </a:ext>
            </a:extLst>
          </p:cNvPr>
          <p:cNvSpPr>
            <a:spLocks noGrp="1"/>
          </p:cNvSpPr>
          <p:nvPr>
            <p:ph type="body" sz="quarter" idx="15"/>
          </p:nvPr>
        </p:nvSpPr>
        <p:spPr>
          <a:xfrm>
            <a:off x="763623" y="332656"/>
            <a:ext cx="10972800" cy="457200"/>
          </a:xfrm>
        </p:spPr>
        <p:txBody>
          <a:bodyPr/>
          <a:lstStyle>
            <a:lvl1pPr marL="0" indent="0">
              <a:buNone/>
              <a:defRPr sz="2400" b="0">
                <a:solidFill>
                  <a:schemeClr val="accent3"/>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31" name="Slide Number Placeholder 4">
            <a:extLst>
              <a:ext uri="{FF2B5EF4-FFF2-40B4-BE49-F238E27FC236}">
                <a16:creationId xmlns:a16="http://schemas.microsoft.com/office/drawing/2014/main" id="{2B22392B-76DC-FD90-612E-48811F402E79}"/>
              </a:ext>
            </a:extLst>
          </p:cNvPr>
          <p:cNvSpPr txBox="1">
            <a:spLocks/>
          </p:cNvSpPr>
          <p:nvPr userDrawn="1"/>
        </p:nvSpPr>
        <p:spPr>
          <a:xfrm>
            <a:off x="11562574" y="6234576"/>
            <a:ext cx="283464" cy="283464"/>
          </a:xfrm>
          <a:prstGeom prst="rect">
            <a:avLst/>
          </a:prstGeom>
        </p:spPr>
        <p:txBody>
          <a:bodyPr vert="horz" wrap="none" lIns="0" tIns="0" rIns="0" bIns="0" rtlCol="0" anchor="ctr"/>
          <a:lstStyle>
            <a:defPPr>
              <a:defRPr lang="en-US"/>
            </a:defPPr>
            <a:lvl1pPr marL="0" algn="ctr" defTabSz="914400" rtl="0" eaLnBrk="1" latinLnBrk="0" hangingPunct="1">
              <a:defRPr sz="1180" b="1" kern="1200">
                <a:solidFill>
                  <a:schemeClr val="tx1">
                    <a:tint val="82000"/>
                  </a:schemeClr>
                </a:solidFill>
                <a:latin typeface="Real Head Pro" panose="020B05040202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grpSp>
        <p:nvGrpSpPr>
          <p:cNvPr id="8" name="Group 7">
            <a:extLst>
              <a:ext uri="{FF2B5EF4-FFF2-40B4-BE49-F238E27FC236}">
                <a16:creationId xmlns:a16="http://schemas.microsoft.com/office/drawing/2014/main" id="{EBCE27B4-E23F-3C71-5A6B-C7F3E9896986}"/>
              </a:ext>
            </a:extLst>
          </p:cNvPr>
          <p:cNvGrpSpPr>
            <a:grpSpLocks noChangeAspect="1"/>
          </p:cNvGrpSpPr>
          <p:nvPr userDrawn="1"/>
        </p:nvGrpSpPr>
        <p:grpSpPr>
          <a:xfrm>
            <a:off x="9648995" y="6252157"/>
            <a:ext cx="1869482" cy="292608"/>
            <a:chOff x="9444187" y="508520"/>
            <a:chExt cx="2339198" cy="366127"/>
          </a:xfrm>
        </p:grpSpPr>
        <p:pic>
          <p:nvPicPr>
            <p:cNvPr id="9" name="object 4">
              <a:extLst>
                <a:ext uri="{FF2B5EF4-FFF2-40B4-BE49-F238E27FC236}">
                  <a16:creationId xmlns:a16="http://schemas.microsoft.com/office/drawing/2014/main" id="{61E61E19-EB1C-E97B-A974-BAE117CD1BC5}"/>
                </a:ext>
              </a:extLst>
            </p:cNvPr>
            <p:cNvPicPr/>
            <p:nvPr/>
          </p:nvPicPr>
          <p:blipFill>
            <a:blip r:embed="rId2" cstate="print"/>
            <a:stretch>
              <a:fillRect/>
            </a:stretch>
          </p:blipFill>
          <p:spPr>
            <a:xfrm>
              <a:off x="9444187" y="568546"/>
              <a:ext cx="1372592" cy="246070"/>
            </a:xfrm>
            <a:prstGeom prst="rect">
              <a:avLst/>
            </a:prstGeom>
          </p:spPr>
        </p:pic>
        <p:sp>
          <p:nvSpPr>
            <p:cNvPr id="28" name="object 10">
              <a:extLst>
                <a:ext uri="{FF2B5EF4-FFF2-40B4-BE49-F238E27FC236}">
                  <a16:creationId xmlns:a16="http://schemas.microsoft.com/office/drawing/2014/main" id="{ECF69582-C7A6-AC05-FC10-05BBC51DE88E}"/>
                </a:ext>
              </a:extLst>
            </p:cNvPr>
            <p:cNvSpPr/>
            <p:nvPr/>
          </p:nvSpPr>
          <p:spPr>
            <a:xfrm>
              <a:off x="10956631" y="508520"/>
              <a:ext cx="0" cy="366127"/>
            </a:xfrm>
            <a:custGeom>
              <a:avLst/>
              <a:gdLst/>
              <a:ahLst/>
              <a:cxnLst/>
              <a:rect l="l" t="t" r="r" b="b"/>
              <a:pathLst>
                <a:path h="603885">
                  <a:moveTo>
                    <a:pt x="0" y="0"/>
                  </a:moveTo>
                  <a:lnTo>
                    <a:pt x="0" y="603876"/>
                  </a:lnTo>
                </a:path>
              </a:pathLst>
            </a:custGeom>
            <a:ln w="8481">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Real Text Pro"/>
                <a:ea typeface="+mn-ea"/>
                <a:cs typeface="+mn-cs"/>
              </a:endParaRPr>
            </a:p>
          </p:txBody>
        </p:sp>
        <p:pic>
          <p:nvPicPr>
            <p:cNvPr id="30" name="object 24">
              <a:extLst>
                <a:ext uri="{FF2B5EF4-FFF2-40B4-BE49-F238E27FC236}">
                  <a16:creationId xmlns:a16="http://schemas.microsoft.com/office/drawing/2014/main" id="{5106F274-9341-AD7E-1F8F-DE89D9CAC7D9}"/>
                </a:ext>
              </a:extLst>
            </p:cNvPr>
            <p:cNvPicPr/>
            <p:nvPr/>
          </p:nvPicPr>
          <p:blipFill>
            <a:blip r:embed="rId3" cstate="print"/>
            <a:srcRect t="2" r="8299" b="42551"/>
            <a:stretch/>
          </p:blipFill>
          <p:spPr>
            <a:xfrm>
              <a:off x="11109501" y="589948"/>
              <a:ext cx="673884" cy="185327"/>
            </a:xfrm>
            <a:prstGeom prst="rect">
              <a:avLst/>
            </a:prstGeom>
          </p:spPr>
        </p:pic>
      </p:grpSp>
      <p:sp>
        <p:nvSpPr>
          <p:cNvPr id="32" name="Slide Number Placeholder 29">
            <a:extLst>
              <a:ext uri="{FF2B5EF4-FFF2-40B4-BE49-F238E27FC236}">
                <a16:creationId xmlns:a16="http://schemas.microsoft.com/office/drawing/2014/main" id="{4BB02A47-1336-936F-0646-6060A995D070}"/>
              </a:ext>
            </a:extLst>
          </p:cNvPr>
          <p:cNvSpPr txBox="1">
            <a:spLocks/>
          </p:cNvSpPr>
          <p:nvPr userDrawn="1"/>
        </p:nvSpPr>
        <p:spPr>
          <a:xfrm>
            <a:off x="11573298" y="6240978"/>
            <a:ext cx="283464" cy="283464"/>
          </a:xfrm>
          <a:prstGeom prst="rect">
            <a:avLst/>
          </a:prstGeom>
          <a:solidFill>
            <a:schemeClr val="accent4"/>
          </a:solidFill>
        </p:spPr>
        <p:txBody>
          <a:bodyPr vert="horz" wrap="none" lIns="0" tIns="0" rIns="0" bIns="0" rtlCol="0" anchor="ctr"/>
          <a:lstStyle>
            <a:defPPr>
              <a:defRPr lang="en-US"/>
            </a:defPPr>
            <a:lvl1pPr marL="0" algn="ctr" defTabSz="914400" rtl="0" eaLnBrk="1" latinLnBrk="0" hangingPunct="1">
              <a:defRPr sz="1180" b="1" kern="1200">
                <a:solidFill>
                  <a:schemeClr val="tx1">
                    <a:tint val="82000"/>
                  </a:schemeClr>
                </a:solidFill>
                <a:latin typeface="Real Head Pro" panose="020B05040202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FF7D9A68-EC15-4B1F-850C-8A6CCAFA90D8}" type="slidenum">
              <a:rPr lang="en-US" smtClean="0">
                <a:solidFill>
                  <a:srgbClr val="767676"/>
                </a:solidFill>
              </a:rPr>
              <a:pPr>
                <a:defRPr/>
              </a:pPr>
              <a:t>‹#›</a:t>
            </a:fld>
            <a:endParaRPr lang="en-US">
              <a:solidFill>
                <a:srgbClr val="767676"/>
              </a:solidFill>
            </a:endParaRPr>
          </a:p>
        </p:txBody>
      </p:sp>
    </p:spTree>
    <p:extLst>
      <p:ext uri="{BB962C8B-B14F-4D97-AF65-F5344CB8AC3E}">
        <p14:creationId xmlns:p14="http://schemas.microsoft.com/office/powerpoint/2010/main" val="23064188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1_Title Subtitle and graphic - Dark">
    <p:bg>
      <p:bgPr>
        <a:solidFill>
          <a:schemeClr val="tx2"/>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C16F05C-4BB9-7C82-C709-68EA2F74B897}"/>
              </a:ext>
            </a:extLst>
          </p:cNvPr>
          <p:cNvSpPr>
            <a:spLocks noGrp="1"/>
          </p:cNvSpPr>
          <p:nvPr>
            <p:ph type="dt" sz="half" idx="10"/>
          </p:nvPr>
        </p:nvSpPr>
        <p:spPr/>
        <p:txBody>
          <a:bodyPr/>
          <a:lstStyle/>
          <a:p>
            <a:fld id="{B2B781B7-79EE-4A47-92F5-0A473CF0A488}" type="datetime1">
              <a:rPr lang="en-US" smtClean="0"/>
              <a:t>4/2/2025</a:t>
            </a:fld>
            <a:endParaRPr lang="en-US"/>
          </a:p>
        </p:txBody>
      </p:sp>
      <p:sp>
        <p:nvSpPr>
          <p:cNvPr id="4" name="Footer Placeholder 3">
            <a:extLst>
              <a:ext uri="{FF2B5EF4-FFF2-40B4-BE49-F238E27FC236}">
                <a16:creationId xmlns:a16="http://schemas.microsoft.com/office/drawing/2014/main" id="{B562C211-B566-11DA-A38D-906051586563}"/>
              </a:ext>
            </a:extLst>
          </p:cNvPr>
          <p:cNvSpPr>
            <a:spLocks noGrp="1"/>
          </p:cNvSpPr>
          <p:nvPr>
            <p:ph type="ftr" sz="quarter" idx="11"/>
          </p:nvPr>
        </p:nvSpPr>
        <p:spPr/>
        <p:txBody>
          <a:bodyPr/>
          <a:lstStyle/>
          <a:p>
            <a:endParaRPr lang="en-US"/>
          </a:p>
        </p:txBody>
      </p:sp>
      <p:sp>
        <p:nvSpPr>
          <p:cNvPr id="6" name="object 24">
            <a:extLst>
              <a:ext uri="{FF2B5EF4-FFF2-40B4-BE49-F238E27FC236}">
                <a16:creationId xmlns:a16="http://schemas.microsoft.com/office/drawing/2014/main" id="{E5F920B2-E5F2-B5E1-9A23-2C5EE88B6F55}"/>
              </a:ext>
            </a:extLst>
          </p:cNvPr>
          <p:cNvSpPr/>
          <p:nvPr userDrawn="1"/>
        </p:nvSpPr>
        <p:spPr>
          <a:xfrm>
            <a:off x="1588" y="343463"/>
            <a:ext cx="152457" cy="6170641"/>
          </a:xfrm>
          <a:custGeom>
            <a:avLst/>
            <a:gdLst/>
            <a:ahLst/>
            <a:cxnLst/>
            <a:rect l="l" t="t" r="r" b="b"/>
            <a:pathLst>
              <a:path w="251460" h="10177780">
                <a:moveTo>
                  <a:pt x="251301" y="0"/>
                </a:moveTo>
                <a:lnTo>
                  <a:pt x="0" y="0"/>
                </a:lnTo>
                <a:lnTo>
                  <a:pt x="0" y="10177700"/>
                </a:lnTo>
                <a:lnTo>
                  <a:pt x="251301" y="10177700"/>
                </a:lnTo>
                <a:lnTo>
                  <a:pt x="251301" y="0"/>
                </a:lnTo>
                <a:close/>
              </a:path>
            </a:pathLst>
          </a:custGeom>
          <a:solidFill>
            <a:schemeClr val="accent3"/>
          </a:solidFill>
        </p:spPr>
        <p:txBody>
          <a:bodyPr wrap="square" lIns="0" tIns="0" rIns="0" bIns="0" rtlCol="0"/>
          <a:lstStyle/>
          <a:p>
            <a:endParaRPr kern="0">
              <a:solidFill>
                <a:sysClr val="windowText" lastClr="000000"/>
              </a:solidFill>
            </a:endParaRPr>
          </a:p>
        </p:txBody>
      </p:sp>
      <p:sp>
        <p:nvSpPr>
          <p:cNvPr id="7" name="Text Placeholder 32">
            <a:extLst>
              <a:ext uri="{FF2B5EF4-FFF2-40B4-BE49-F238E27FC236}">
                <a16:creationId xmlns:a16="http://schemas.microsoft.com/office/drawing/2014/main" id="{76176889-EC90-7074-D8BD-FB8FBFBCB343}"/>
              </a:ext>
            </a:extLst>
          </p:cNvPr>
          <p:cNvSpPr>
            <a:spLocks noGrp="1"/>
          </p:cNvSpPr>
          <p:nvPr>
            <p:ph type="body" sz="quarter" idx="14" hasCustomPrompt="1"/>
          </p:nvPr>
        </p:nvSpPr>
        <p:spPr>
          <a:xfrm>
            <a:off x="763623" y="332656"/>
            <a:ext cx="8229600" cy="914400"/>
          </a:xfrm>
        </p:spPr>
        <p:txBody>
          <a:bodyPr anchor="b"/>
          <a:lstStyle>
            <a:lvl1pPr marL="0" indent="0">
              <a:spcBef>
                <a:spcPts val="0"/>
              </a:spcBef>
              <a:buNone/>
              <a:defRPr sz="3150">
                <a:solidFill>
                  <a:schemeClr val="bg1"/>
                </a:solidFill>
                <a:latin typeface="+mj-lt"/>
              </a:defRPr>
            </a:lvl1pPr>
          </a:lstStyle>
          <a:p>
            <a:pPr lvl="0"/>
            <a:r>
              <a:rPr lang="en-US"/>
              <a:t>Heading</a:t>
            </a:r>
          </a:p>
        </p:txBody>
      </p:sp>
      <p:sp>
        <p:nvSpPr>
          <p:cNvPr id="10" name="Text Placeholder 9">
            <a:extLst>
              <a:ext uri="{FF2B5EF4-FFF2-40B4-BE49-F238E27FC236}">
                <a16:creationId xmlns:a16="http://schemas.microsoft.com/office/drawing/2014/main" id="{37CFB753-B7D0-7691-BBDF-851034055F44}"/>
              </a:ext>
            </a:extLst>
          </p:cNvPr>
          <p:cNvSpPr>
            <a:spLocks noGrp="1"/>
          </p:cNvSpPr>
          <p:nvPr>
            <p:ph type="body" sz="quarter" idx="15"/>
          </p:nvPr>
        </p:nvSpPr>
        <p:spPr>
          <a:xfrm>
            <a:off x="763623" y="1304764"/>
            <a:ext cx="8229600" cy="457200"/>
          </a:xfrm>
        </p:spPr>
        <p:txBody>
          <a:bodyPr/>
          <a:lstStyle>
            <a:lvl1pPr marL="0" indent="0">
              <a:buNone/>
              <a:defRPr sz="2400" b="0">
                <a:solidFill>
                  <a:schemeClr val="accent3"/>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26" name="Slide Number Box">
            <a:extLst>
              <a:ext uri="{FF2B5EF4-FFF2-40B4-BE49-F238E27FC236}">
                <a16:creationId xmlns:a16="http://schemas.microsoft.com/office/drawing/2014/main" id="{C6384CAB-9CD9-0D29-7874-711C8703D8EB}"/>
              </a:ext>
            </a:extLst>
          </p:cNvPr>
          <p:cNvSpPr txBox="1"/>
          <p:nvPr userDrawn="1"/>
        </p:nvSpPr>
        <p:spPr>
          <a:xfrm>
            <a:off x="11566535" y="6234575"/>
            <a:ext cx="279503" cy="283464"/>
          </a:xfrm>
          <a:prstGeom prst="rect">
            <a:avLst/>
          </a:prstGeom>
          <a:solidFill>
            <a:srgbClr val="FFD700"/>
          </a:solidFill>
        </p:spPr>
        <p:txBody>
          <a:bodyPr vert="horz" wrap="square" lIns="0" tIns="38884" rIns="0" bIns="0" rtlCol="0">
            <a:spAutoFit/>
          </a:bodyPr>
          <a:lstStyle/>
          <a:p>
            <a:pPr marL="55825" algn="ctr">
              <a:spcBef>
                <a:spcPts val="306"/>
              </a:spcBef>
            </a:pPr>
            <a:endParaRPr sz="1182">
              <a:latin typeface="Real Head Pro"/>
              <a:cs typeface="Real Head Pro"/>
            </a:endParaRPr>
          </a:p>
        </p:txBody>
      </p:sp>
      <p:sp>
        <p:nvSpPr>
          <p:cNvPr id="27" name="Slide Number Placeholder 29">
            <a:extLst>
              <a:ext uri="{FF2B5EF4-FFF2-40B4-BE49-F238E27FC236}">
                <a16:creationId xmlns:a16="http://schemas.microsoft.com/office/drawing/2014/main" id="{8621F6BD-BB6D-AD2E-D4FF-8953F954F268}"/>
              </a:ext>
            </a:extLst>
          </p:cNvPr>
          <p:cNvSpPr>
            <a:spLocks noGrp="1"/>
          </p:cNvSpPr>
          <p:nvPr>
            <p:ph type="sldNum" sz="quarter" idx="12"/>
          </p:nvPr>
        </p:nvSpPr>
        <p:spPr>
          <a:xfrm>
            <a:off x="11562574" y="6234576"/>
            <a:ext cx="283464" cy="283464"/>
          </a:xfrm>
        </p:spPr>
        <p:txBody>
          <a:bodyPr/>
          <a:lstStyle/>
          <a:p>
            <a:fld id="{FF7D9A68-EC15-4B1F-850C-8A6CCAFA90D8}" type="slidenum">
              <a:rPr lang="en-US" smtClean="0"/>
              <a:pPr/>
              <a:t>‹#›</a:t>
            </a:fld>
            <a:endParaRPr lang="en-US"/>
          </a:p>
        </p:txBody>
      </p:sp>
      <p:grpSp>
        <p:nvGrpSpPr>
          <p:cNvPr id="2" name="Group 1">
            <a:extLst>
              <a:ext uri="{FF2B5EF4-FFF2-40B4-BE49-F238E27FC236}">
                <a16:creationId xmlns:a16="http://schemas.microsoft.com/office/drawing/2014/main" id="{844EB006-6B63-7ED5-FB19-ECD0DB9BFD5D}"/>
              </a:ext>
            </a:extLst>
          </p:cNvPr>
          <p:cNvGrpSpPr>
            <a:grpSpLocks noChangeAspect="1"/>
          </p:cNvGrpSpPr>
          <p:nvPr userDrawn="1"/>
        </p:nvGrpSpPr>
        <p:grpSpPr>
          <a:xfrm>
            <a:off x="9560283" y="6247999"/>
            <a:ext cx="1869482" cy="292608"/>
            <a:chOff x="9444187" y="508520"/>
            <a:chExt cx="2339198" cy="366127"/>
          </a:xfrm>
        </p:grpSpPr>
        <p:pic>
          <p:nvPicPr>
            <p:cNvPr id="28" name="object 4">
              <a:extLst>
                <a:ext uri="{FF2B5EF4-FFF2-40B4-BE49-F238E27FC236}">
                  <a16:creationId xmlns:a16="http://schemas.microsoft.com/office/drawing/2014/main" id="{CE30B367-73B2-FA15-E164-2F1751E57E5A}"/>
                </a:ext>
              </a:extLst>
            </p:cNvPr>
            <p:cNvPicPr/>
            <p:nvPr/>
          </p:nvPicPr>
          <p:blipFill>
            <a:blip r:embed="rId2" cstate="print"/>
            <a:stretch>
              <a:fillRect/>
            </a:stretch>
          </p:blipFill>
          <p:spPr>
            <a:xfrm>
              <a:off x="9444187" y="568546"/>
              <a:ext cx="1372592" cy="246070"/>
            </a:xfrm>
            <a:prstGeom prst="rect">
              <a:avLst/>
            </a:prstGeom>
          </p:spPr>
        </p:pic>
        <p:sp>
          <p:nvSpPr>
            <p:cNvPr id="29" name="object 10">
              <a:extLst>
                <a:ext uri="{FF2B5EF4-FFF2-40B4-BE49-F238E27FC236}">
                  <a16:creationId xmlns:a16="http://schemas.microsoft.com/office/drawing/2014/main" id="{68DA466D-5559-B0C4-91E4-2A077D928482}"/>
                </a:ext>
              </a:extLst>
            </p:cNvPr>
            <p:cNvSpPr/>
            <p:nvPr/>
          </p:nvSpPr>
          <p:spPr>
            <a:xfrm>
              <a:off x="10956631" y="508520"/>
              <a:ext cx="0" cy="366127"/>
            </a:xfrm>
            <a:custGeom>
              <a:avLst/>
              <a:gdLst/>
              <a:ahLst/>
              <a:cxnLst/>
              <a:rect l="l" t="t" r="r" b="b"/>
              <a:pathLst>
                <a:path h="603885">
                  <a:moveTo>
                    <a:pt x="0" y="0"/>
                  </a:moveTo>
                  <a:lnTo>
                    <a:pt x="0" y="603876"/>
                  </a:lnTo>
                </a:path>
              </a:pathLst>
            </a:custGeom>
            <a:ln w="8481">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Real Text Pro"/>
                <a:ea typeface="+mn-ea"/>
                <a:cs typeface="+mn-cs"/>
              </a:endParaRPr>
            </a:p>
          </p:txBody>
        </p:sp>
        <p:pic>
          <p:nvPicPr>
            <p:cNvPr id="30" name="object 24">
              <a:extLst>
                <a:ext uri="{FF2B5EF4-FFF2-40B4-BE49-F238E27FC236}">
                  <a16:creationId xmlns:a16="http://schemas.microsoft.com/office/drawing/2014/main" id="{F8D84C37-7BAB-CF5F-D756-E2171C650ACE}"/>
                </a:ext>
              </a:extLst>
            </p:cNvPr>
            <p:cNvPicPr/>
            <p:nvPr/>
          </p:nvPicPr>
          <p:blipFill>
            <a:blip r:embed="rId3" cstate="print"/>
            <a:srcRect t="2" r="8299" b="42551"/>
            <a:stretch/>
          </p:blipFill>
          <p:spPr>
            <a:xfrm>
              <a:off x="11109501" y="589948"/>
              <a:ext cx="673884" cy="185327"/>
            </a:xfrm>
            <a:prstGeom prst="rect">
              <a:avLst/>
            </a:prstGeom>
          </p:spPr>
        </p:pic>
      </p:grpSp>
    </p:spTree>
    <p:extLst>
      <p:ext uri="{BB962C8B-B14F-4D97-AF65-F5344CB8AC3E}">
        <p14:creationId xmlns:p14="http://schemas.microsoft.com/office/powerpoint/2010/main" val="396880282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2_Title Subtitle and graphic - Dark">
    <p:bg>
      <p:bgPr>
        <a:solidFill>
          <a:schemeClr val="tx2"/>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C16F05C-4BB9-7C82-C709-68EA2F74B897}"/>
              </a:ext>
            </a:extLst>
          </p:cNvPr>
          <p:cNvSpPr>
            <a:spLocks noGrp="1"/>
          </p:cNvSpPr>
          <p:nvPr>
            <p:ph type="dt" sz="half" idx="10"/>
          </p:nvPr>
        </p:nvSpPr>
        <p:spPr/>
        <p:txBody>
          <a:bodyPr/>
          <a:lstStyle/>
          <a:p>
            <a:fld id="{538BA0BE-9994-4243-B399-F1EA7335824C}" type="datetime1">
              <a:rPr lang="en-US" smtClean="0"/>
              <a:t>4/2/2025</a:t>
            </a:fld>
            <a:endParaRPr lang="en-US"/>
          </a:p>
        </p:txBody>
      </p:sp>
      <p:sp>
        <p:nvSpPr>
          <p:cNvPr id="4" name="Footer Placeholder 3">
            <a:extLst>
              <a:ext uri="{FF2B5EF4-FFF2-40B4-BE49-F238E27FC236}">
                <a16:creationId xmlns:a16="http://schemas.microsoft.com/office/drawing/2014/main" id="{B562C211-B566-11DA-A38D-906051586563}"/>
              </a:ext>
            </a:extLst>
          </p:cNvPr>
          <p:cNvSpPr>
            <a:spLocks noGrp="1"/>
          </p:cNvSpPr>
          <p:nvPr>
            <p:ph type="ftr" sz="quarter" idx="11"/>
          </p:nvPr>
        </p:nvSpPr>
        <p:spPr/>
        <p:txBody>
          <a:bodyPr/>
          <a:lstStyle/>
          <a:p>
            <a:endParaRPr lang="en-US"/>
          </a:p>
        </p:txBody>
      </p:sp>
      <p:sp>
        <p:nvSpPr>
          <p:cNvPr id="6" name="object 24">
            <a:extLst>
              <a:ext uri="{FF2B5EF4-FFF2-40B4-BE49-F238E27FC236}">
                <a16:creationId xmlns:a16="http://schemas.microsoft.com/office/drawing/2014/main" id="{E5F920B2-E5F2-B5E1-9A23-2C5EE88B6F55}"/>
              </a:ext>
            </a:extLst>
          </p:cNvPr>
          <p:cNvSpPr/>
          <p:nvPr userDrawn="1"/>
        </p:nvSpPr>
        <p:spPr>
          <a:xfrm>
            <a:off x="1588" y="343463"/>
            <a:ext cx="152457" cy="6170641"/>
          </a:xfrm>
          <a:custGeom>
            <a:avLst/>
            <a:gdLst/>
            <a:ahLst/>
            <a:cxnLst/>
            <a:rect l="l" t="t" r="r" b="b"/>
            <a:pathLst>
              <a:path w="251460" h="10177780">
                <a:moveTo>
                  <a:pt x="251301" y="0"/>
                </a:moveTo>
                <a:lnTo>
                  <a:pt x="0" y="0"/>
                </a:lnTo>
                <a:lnTo>
                  <a:pt x="0" y="10177700"/>
                </a:lnTo>
                <a:lnTo>
                  <a:pt x="251301" y="10177700"/>
                </a:lnTo>
                <a:lnTo>
                  <a:pt x="251301" y="0"/>
                </a:lnTo>
                <a:close/>
              </a:path>
            </a:pathLst>
          </a:custGeom>
          <a:solidFill>
            <a:schemeClr val="accent3"/>
          </a:solidFill>
        </p:spPr>
        <p:txBody>
          <a:bodyPr wrap="square" lIns="0" tIns="0" rIns="0" bIns="0" rtlCol="0"/>
          <a:lstStyle/>
          <a:p>
            <a:endParaRPr kern="0">
              <a:solidFill>
                <a:sysClr val="windowText" lastClr="000000"/>
              </a:solidFill>
            </a:endParaRPr>
          </a:p>
        </p:txBody>
      </p:sp>
      <p:sp>
        <p:nvSpPr>
          <p:cNvPr id="7" name="Text Placeholder 32">
            <a:extLst>
              <a:ext uri="{FF2B5EF4-FFF2-40B4-BE49-F238E27FC236}">
                <a16:creationId xmlns:a16="http://schemas.microsoft.com/office/drawing/2014/main" id="{76176889-EC90-7074-D8BD-FB8FBFBCB343}"/>
              </a:ext>
            </a:extLst>
          </p:cNvPr>
          <p:cNvSpPr>
            <a:spLocks noGrp="1"/>
          </p:cNvSpPr>
          <p:nvPr>
            <p:ph type="body" sz="quarter" idx="14" hasCustomPrompt="1"/>
          </p:nvPr>
        </p:nvSpPr>
        <p:spPr>
          <a:xfrm>
            <a:off x="763623" y="332656"/>
            <a:ext cx="8229600" cy="914400"/>
          </a:xfrm>
        </p:spPr>
        <p:txBody>
          <a:bodyPr anchor="b"/>
          <a:lstStyle>
            <a:lvl1pPr marL="0" indent="0">
              <a:spcBef>
                <a:spcPts val="0"/>
              </a:spcBef>
              <a:buNone/>
              <a:defRPr sz="3150">
                <a:solidFill>
                  <a:schemeClr val="bg1"/>
                </a:solidFill>
                <a:latin typeface="+mj-lt"/>
              </a:defRPr>
            </a:lvl1pPr>
          </a:lstStyle>
          <a:p>
            <a:pPr lvl="0"/>
            <a:r>
              <a:rPr lang="en-US"/>
              <a:t>Heading</a:t>
            </a:r>
          </a:p>
        </p:txBody>
      </p:sp>
      <p:sp>
        <p:nvSpPr>
          <p:cNvPr id="10" name="Text Placeholder 9">
            <a:extLst>
              <a:ext uri="{FF2B5EF4-FFF2-40B4-BE49-F238E27FC236}">
                <a16:creationId xmlns:a16="http://schemas.microsoft.com/office/drawing/2014/main" id="{37CFB753-B7D0-7691-BBDF-851034055F44}"/>
              </a:ext>
            </a:extLst>
          </p:cNvPr>
          <p:cNvSpPr>
            <a:spLocks noGrp="1"/>
          </p:cNvSpPr>
          <p:nvPr>
            <p:ph type="body" sz="quarter" idx="15"/>
          </p:nvPr>
        </p:nvSpPr>
        <p:spPr>
          <a:xfrm>
            <a:off x="763623" y="1304764"/>
            <a:ext cx="8229600" cy="457200"/>
          </a:xfrm>
        </p:spPr>
        <p:txBody>
          <a:bodyPr/>
          <a:lstStyle>
            <a:lvl1pPr marL="0" indent="0">
              <a:buNone/>
              <a:defRPr sz="2400" b="0">
                <a:solidFill>
                  <a:schemeClr val="accent3"/>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8" name="Slide Number Box">
            <a:extLst>
              <a:ext uri="{FF2B5EF4-FFF2-40B4-BE49-F238E27FC236}">
                <a16:creationId xmlns:a16="http://schemas.microsoft.com/office/drawing/2014/main" id="{0F62DB2E-BAFF-C32E-D7F1-267A0C3E04A9}"/>
              </a:ext>
            </a:extLst>
          </p:cNvPr>
          <p:cNvSpPr txBox="1"/>
          <p:nvPr userDrawn="1"/>
        </p:nvSpPr>
        <p:spPr>
          <a:xfrm>
            <a:off x="11566535" y="6234575"/>
            <a:ext cx="279503" cy="283464"/>
          </a:xfrm>
          <a:prstGeom prst="rect">
            <a:avLst/>
          </a:prstGeom>
          <a:solidFill>
            <a:srgbClr val="FFD700"/>
          </a:solidFill>
        </p:spPr>
        <p:txBody>
          <a:bodyPr vert="horz" wrap="square" lIns="0" tIns="38884" rIns="0" bIns="0" rtlCol="0">
            <a:spAutoFit/>
          </a:bodyPr>
          <a:lstStyle/>
          <a:p>
            <a:pPr marL="55825" algn="ctr">
              <a:spcBef>
                <a:spcPts val="306"/>
              </a:spcBef>
            </a:pPr>
            <a:endParaRPr sz="1182">
              <a:latin typeface="Real Head Pro"/>
              <a:cs typeface="Real Head Pro"/>
            </a:endParaRPr>
          </a:p>
        </p:txBody>
      </p:sp>
      <p:sp>
        <p:nvSpPr>
          <p:cNvPr id="9" name="Slide Number Placeholder 4">
            <a:extLst>
              <a:ext uri="{FF2B5EF4-FFF2-40B4-BE49-F238E27FC236}">
                <a16:creationId xmlns:a16="http://schemas.microsoft.com/office/drawing/2014/main" id="{F19D5302-242A-C96C-DC51-6B38927710A9}"/>
              </a:ext>
            </a:extLst>
          </p:cNvPr>
          <p:cNvSpPr>
            <a:spLocks noGrp="1"/>
          </p:cNvSpPr>
          <p:nvPr>
            <p:ph type="sldNum" sz="quarter" idx="12"/>
          </p:nvPr>
        </p:nvSpPr>
        <p:spPr>
          <a:xfrm>
            <a:off x="11562574" y="6234576"/>
            <a:ext cx="283464" cy="283464"/>
          </a:xfrm>
        </p:spPr>
        <p:txBody>
          <a:bodyPr/>
          <a:lstStyle/>
          <a:p>
            <a:fld id="{FF7D9A68-EC15-4B1F-850C-8A6CCAFA90D8}" type="slidenum">
              <a:rPr lang="en-US" smtClean="0"/>
              <a:pPr/>
              <a:t>‹#›</a:t>
            </a:fld>
            <a:endParaRPr lang="en-US"/>
          </a:p>
        </p:txBody>
      </p:sp>
      <p:pic>
        <p:nvPicPr>
          <p:cNvPr id="2" name="Graphic 1">
            <a:extLst>
              <a:ext uri="{FF2B5EF4-FFF2-40B4-BE49-F238E27FC236}">
                <a16:creationId xmlns:a16="http://schemas.microsoft.com/office/drawing/2014/main" id="{BEA430D3-630F-F885-AB28-5DF9FBF8EDE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55910" y="6285404"/>
            <a:ext cx="706755" cy="192024"/>
          </a:xfrm>
          <a:prstGeom prst="rect">
            <a:avLst/>
          </a:prstGeom>
        </p:spPr>
      </p:pic>
    </p:spTree>
    <p:extLst>
      <p:ext uri="{BB962C8B-B14F-4D97-AF65-F5344CB8AC3E}">
        <p14:creationId xmlns:p14="http://schemas.microsoft.com/office/powerpoint/2010/main" val="99394532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4_Title with Overlay">
    <p:bg>
      <p:bgPr>
        <a:solidFill>
          <a:schemeClr val="tx2"/>
        </a:solidFill>
        <a:effectLst/>
      </p:bgPr>
    </p:bg>
    <p:spTree>
      <p:nvGrpSpPr>
        <p:cNvPr id="1" name=""/>
        <p:cNvGrpSpPr/>
        <p:nvPr/>
      </p:nvGrpSpPr>
      <p:grpSpPr>
        <a:xfrm>
          <a:off x="0" y="0"/>
          <a:ext cx="0" cy="0"/>
          <a:chOff x="0" y="0"/>
          <a:chExt cx="0" cy="0"/>
        </a:xfrm>
      </p:grpSpPr>
      <p:sp>
        <p:nvSpPr>
          <p:cNvPr id="25" name="Date Placeholder 24">
            <a:extLst>
              <a:ext uri="{FF2B5EF4-FFF2-40B4-BE49-F238E27FC236}">
                <a16:creationId xmlns:a16="http://schemas.microsoft.com/office/drawing/2014/main" id="{A57172BC-5EB5-C0CF-6CC0-97CFD6F72CB5}"/>
              </a:ext>
            </a:extLst>
          </p:cNvPr>
          <p:cNvSpPr>
            <a:spLocks noGrp="1"/>
          </p:cNvSpPr>
          <p:nvPr>
            <p:ph type="dt" sz="half" idx="10"/>
          </p:nvPr>
        </p:nvSpPr>
        <p:spPr/>
        <p:txBody>
          <a:bodyPr/>
          <a:lstStyle/>
          <a:p>
            <a:fld id="{51FAC167-1066-4F75-BBD8-AD23800D7D1F}" type="datetime1">
              <a:rPr lang="en-US" smtClean="0"/>
              <a:t>4/2/2025</a:t>
            </a:fld>
            <a:endParaRPr lang="en-US"/>
          </a:p>
        </p:txBody>
      </p:sp>
      <p:sp>
        <p:nvSpPr>
          <p:cNvPr id="26" name="Footer Placeholder 25">
            <a:extLst>
              <a:ext uri="{FF2B5EF4-FFF2-40B4-BE49-F238E27FC236}">
                <a16:creationId xmlns:a16="http://schemas.microsoft.com/office/drawing/2014/main" id="{92257F35-DE6E-9549-6ECF-1D42BE651129}"/>
              </a:ext>
            </a:extLst>
          </p:cNvPr>
          <p:cNvSpPr>
            <a:spLocks noGrp="1"/>
          </p:cNvSpPr>
          <p:nvPr>
            <p:ph type="ftr" sz="quarter" idx="11"/>
          </p:nvPr>
        </p:nvSpPr>
        <p:spPr/>
        <p:txBody>
          <a:bodyPr/>
          <a:lstStyle/>
          <a:p>
            <a:endParaRPr lang="en-US"/>
          </a:p>
        </p:txBody>
      </p:sp>
      <p:pic>
        <p:nvPicPr>
          <p:cNvPr id="4" name="object 4">
            <a:extLst>
              <a:ext uri="{FF2B5EF4-FFF2-40B4-BE49-F238E27FC236}">
                <a16:creationId xmlns:a16="http://schemas.microsoft.com/office/drawing/2014/main" id="{6B47318C-4C7C-9AC6-7295-C82E7586571D}"/>
              </a:ext>
            </a:extLst>
          </p:cNvPr>
          <p:cNvPicPr/>
          <p:nvPr/>
        </p:nvPicPr>
        <p:blipFill>
          <a:blip r:embed="rId2" cstate="print">
            <a:extLst>
              <a:ext uri="{BEBA8EAE-BF5A-486C-A8C5-ECC9F3942E4B}">
                <a14:imgProps xmlns:a14="http://schemas.microsoft.com/office/drawing/2010/main">
                  <a14:imgLayer r:embed="rId3">
                    <a14:imgEffect>
                      <a14:saturation sat="248000"/>
                    </a14:imgEffect>
                    <a14:imgEffect>
                      <a14:brightnessContrast bright="-39000"/>
                    </a14:imgEffect>
                  </a14:imgLayer>
                </a14:imgProps>
              </a:ext>
            </a:extLst>
          </a:blip>
          <a:stretch>
            <a:fillRect/>
          </a:stretch>
        </p:blipFill>
        <p:spPr>
          <a:xfrm>
            <a:off x="-8365" y="1785"/>
            <a:ext cx="12188825" cy="6856215"/>
          </a:xfrm>
          <a:prstGeom prst="rect">
            <a:avLst/>
          </a:prstGeom>
        </p:spPr>
      </p:pic>
      <p:sp>
        <p:nvSpPr>
          <p:cNvPr id="5" name="object 5">
            <a:extLst>
              <a:ext uri="{FF2B5EF4-FFF2-40B4-BE49-F238E27FC236}">
                <a16:creationId xmlns:a16="http://schemas.microsoft.com/office/drawing/2014/main" id="{67A66EC3-1C95-4734-B2D5-580258F8E8C3}"/>
              </a:ext>
            </a:extLst>
          </p:cNvPr>
          <p:cNvSpPr/>
          <p:nvPr/>
        </p:nvSpPr>
        <p:spPr>
          <a:xfrm>
            <a:off x="16343" y="4520"/>
            <a:ext cx="12188826" cy="6856312"/>
          </a:xfrm>
          <a:custGeom>
            <a:avLst/>
            <a:gdLst/>
            <a:ahLst/>
            <a:cxnLst/>
            <a:rect l="l" t="t" r="r" b="b"/>
            <a:pathLst>
              <a:path w="20104100" h="11308715">
                <a:moveTo>
                  <a:pt x="20104100" y="0"/>
                </a:moveTo>
                <a:lnTo>
                  <a:pt x="0" y="0"/>
                </a:lnTo>
                <a:lnTo>
                  <a:pt x="0" y="11308556"/>
                </a:lnTo>
                <a:lnTo>
                  <a:pt x="20104100" y="11308556"/>
                </a:lnTo>
                <a:lnTo>
                  <a:pt x="20104100" y="0"/>
                </a:lnTo>
                <a:close/>
              </a:path>
            </a:pathLst>
          </a:custGeom>
          <a:solidFill>
            <a:srgbClr val="A3AFB8">
              <a:alpha val="10000"/>
            </a:srgbClr>
          </a:solidFill>
        </p:spPr>
        <p:txBody>
          <a:bodyPr wrap="square" lIns="0" tIns="0" rIns="0" bIns="0" rtlCol="0"/>
          <a:lstStyle/>
          <a:p>
            <a:endParaRPr/>
          </a:p>
        </p:txBody>
      </p:sp>
      <p:pic>
        <p:nvPicPr>
          <p:cNvPr id="6" name="object 6">
            <a:extLst>
              <a:ext uri="{FF2B5EF4-FFF2-40B4-BE49-F238E27FC236}">
                <a16:creationId xmlns:a16="http://schemas.microsoft.com/office/drawing/2014/main" id="{A3B608DA-4897-AE5C-BF4F-4699CDEF9782}"/>
              </a:ext>
            </a:extLst>
          </p:cNvPr>
          <p:cNvPicPr/>
          <p:nvPr/>
        </p:nvPicPr>
        <p:blipFill>
          <a:blip r:embed="rId4" cstate="print">
            <a:alphaModFix amt="30000"/>
          </a:blip>
          <a:srcRect b="50000"/>
          <a:stretch/>
        </p:blipFill>
        <p:spPr>
          <a:xfrm>
            <a:off x="-13167" y="-3105"/>
            <a:ext cx="12188824" cy="6918255"/>
          </a:xfrm>
          <a:prstGeom prst="rect">
            <a:avLst/>
          </a:prstGeom>
        </p:spPr>
      </p:pic>
      <p:grpSp>
        <p:nvGrpSpPr>
          <p:cNvPr id="8" name="Group 7">
            <a:extLst>
              <a:ext uri="{FF2B5EF4-FFF2-40B4-BE49-F238E27FC236}">
                <a16:creationId xmlns:a16="http://schemas.microsoft.com/office/drawing/2014/main" id="{0F4D155F-5ED4-D9A4-15EE-0E72008ACD8B}"/>
              </a:ext>
            </a:extLst>
          </p:cNvPr>
          <p:cNvGrpSpPr/>
          <p:nvPr userDrawn="1"/>
        </p:nvGrpSpPr>
        <p:grpSpPr>
          <a:xfrm>
            <a:off x="10768672" y="6279572"/>
            <a:ext cx="694340" cy="190186"/>
            <a:chOff x="10768672" y="6279572"/>
            <a:chExt cx="694340" cy="190186"/>
          </a:xfrm>
        </p:grpSpPr>
        <p:grpSp>
          <p:nvGrpSpPr>
            <p:cNvPr id="15" name="object 26">
              <a:extLst>
                <a:ext uri="{FF2B5EF4-FFF2-40B4-BE49-F238E27FC236}">
                  <a16:creationId xmlns:a16="http://schemas.microsoft.com/office/drawing/2014/main" id="{788C2CA7-A16B-9728-56D3-849400911F5F}"/>
                </a:ext>
              </a:extLst>
            </p:cNvPr>
            <p:cNvGrpSpPr/>
            <p:nvPr/>
          </p:nvGrpSpPr>
          <p:grpSpPr>
            <a:xfrm>
              <a:off x="10768672" y="6279841"/>
              <a:ext cx="348802" cy="189801"/>
              <a:chOff x="17759098" y="10356815"/>
              <a:chExt cx="575310" cy="313055"/>
            </a:xfrm>
          </p:grpSpPr>
          <p:sp>
            <p:nvSpPr>
              <p:cNvPr id="17" name="object 27">
                <a:extLst>
                  <a:ext uri="{FF2B5EF4-FFF2-40B4-BE49-F238E27FC236}">
                    <a16:creationId xmlns:a16="http://schemas.microsoft.com/office/drawing/2014/main" id="{5BE9B68E-1F15-6A27-366A-F3B5F8A2B0B8}"/>
                  </a:ext>
                </a:extLst>
              </p:cNvPr>
              <p:cNvSpPr/>
              <p:nvPr/>
            </p:nvSpPr>
            <p:spPr>
              <a:xfrm>
                <a:off x="17759098" y="10361392"/>
                <a:ext cx="281940" cy="302895"/>
              </a:xfrm>
              <a:custGeom>
                <a:avLst/>
                <a:gdLst/>
                <a:ahLst/>
                <a:cxnLst/>
                <a:rect l="l" t="t" r="r" b="b"/>
                <a:pathLst>
                  <a:path w="281940" h="302895">
                    <a:moveTo>
                      <a:pt x="281478" y="0"/>
                    </a:moveTo>
                    <a:lnTo>
                      <a:pt x="202936" y="0"/>
                    </a:lnTo>
                    <a:lnTo>
                      <a:pt x="202936" y="174308"/>
                    </a:lnTo>
                    <a:lnTo>
                      <a:pt x="80364" y="0"/>
                    </a:lnTo>
                    <a:lnTo>
                      <a:pt x="0" y="0"/>
                    </a:lnTo>
                    <a:lnTo>
                      <a:pt x="0" y="302723"/>
                    </a:lnTo>
                    <a:lnTo>
                      <a:pt x="78049" y="302723"/>
                    </a:lnTo>
                    <a:lnTo>
                      <a:pt x="78049" y="119807"/>
                    </a:lnTo>
                    <a:lnTo>
                      <a:pt x="206129" y="302776"/>
                    </a:lnTo>
                    <a:lnTo>
                      <a:pt x="281478" y="302776"/>
                    </a:lnTo>
                    <a:lnTo>
                      <a:pt x="281478" y="0"/>
                    </a:lnTo>
                    <a:close/>
                  </a:path>
                </a:pathLst>
              </a:custGeom>
              <a:solidFill>
                <a:srgbClr val="FFFFFF"/>
              </a:solidFill>
            </p:spPr>
            <p:txBody>
              <a:bodyPr wrap="square" lIns="0" tIns="0" rIns="0" bIns="0" rtlCol="0"/>
              <a:lstStyle/>
              <a:p>
                <a:endParaRPr kern="0">
                  <a:solidFill>
                    <a:sysClr val="windowText" lastClr="000000"/>
                  </a:solidFill>
                </a:endParaRPr>
              </a:p>
            </p:txBody>
          </p:sp>
          <p:sp>
            <p:nvSpPr>
              <p:cNvPr id="18" name="object 28">
                <a:extLst>
                  <a:ext uri="{FF2B5EF4-FFF2-40B4-BE49-F238E27FC236}">
                    <a16:creationId xmlns:a16="http://schemas.microsoft.com/office/drawing/2014/main" id="{43E92285-D091-4058-6A98-0523EE264207}"/>
                  </a:ext>
                </a:extLst>
              </p:cNvPr>
              <p:cNvSpPr/>
              <p:nvPr/>
            </p:nvSpPr>
            <p:spPr>
              <a:xfrm>
                <a:off x="18073618" y="10356815"/>
                <a:ext cx="260985" cy="313055"/>
              </a:xfrm>
              <a:custGeom>
                <a:avLst/>
                <a:gdLst/>
                <a:ahLst/>
                <a:cxnLst/>
                <a:rect l="l" t="t" r="r" b="b"/>
                <a:pathLst>
                  <a:path w="260984" h="313054">
                    <a:moveTo>
                      <a:pt x="130289" y="0"/>
                    </a:moveTo>
                    <a:lnTo>
                      <a:pt x="78682" y="7671"/>
                    </a:lnTo>
                    <a:lnTo>
                      <a:pt x="40822" y="28360"/>
                    </a:lnTo>
                    <a:lnTo>
                      <a:pt x="17523" y="58574"/>
                    </a:lnTo>
                    <a:lnTo>
                      <a:pt x="9601" y="94824"/>
                    </a:lnTo>
                    <a:lnTo>
                      <a:pt x="21302" y="138425"/>
                    </a:lnTo>
                    <a:lnTo>
                      <a:pt x="50787" y="165184"/>
                    </a:lnTo>
                    <a:lnTo>
                      <a:pt x="89631" y="180370"/>
                    </a:lnTo>
                    <a:lnTo>
                      <a:pt x="129409" y="189250"/>
                    </a:lnTo>
                    <a:lnTo>
                      <a:pt x="151085" y="194533"/>
                    </a:lnTo>
                    <a:lnTo>
                      <a:pt x="167360" y="200784"/>
                    </a:lnTo>
                    <a:lnTo>
                      <a:pt x="177593" y="208990"/>
                    </a:lnTo>
                    <a:lnTo>
                      <a:pt x="181146" y="220139"/>
                    </a:lnTo>
                    <a:lnTo>
                      <a:pt x="178169" y="230305"/>
                    </a:lnTo>
                    <a:lnTo>
                      <a:pt x="169613" y="238518"/>
                    </a:lnTo>
                    <a:lnTo>
                      <a:pt x="156042" y="244011"/>
                    </a:lnTo>
                    <a:lnTo>
                      <a:pt x="138016" y="246013"/>
                    </a:lnTo>
                    <a:lnTo>
                      <a:pt x="108540" y="242837"/>
                    </a:lnTo>
                    <a:lnTo>
                      <a:pt x="82344" y="234216"/>
                    </a:lnTo>
                    <a:lnTo>
                      <a:pt x="59809" y="221510"/>
                    </a:lnTo>
                    <a:lnTo>
                      <a:pt x="41318" y="206025"/>
                    </a:lnTo>
                    <a:lnTo>
                      <a:pt x="0" y="264599"/>
                    </a:lnTo>
                    <a:lnTo>
                      <a:pt x="25223" y="284356"/>
                    </a:lnTo>
                    <a:lnTo>
                      <a:pt x="55622" y="299531"/>
                    </a:lnTo>
                    <a:lnTo>
                      <a:pt x="91803" y="309266"/>
                    </a:lnTo>
                    <a:lnTo>
                      <a:pt x="134372" y="312702"/>
                    </a:lnTo>
                    <a:lnTo>
                      <a:pt x="188371" y="305443"/>
                    </a:lnTo>
                    <a:lnTo>
                      <a:pt x="227945" y="284908"/>
                    </a:lnTo>
                    <a:lnTo>
                      <a:pt x="252285" y="252965"/>
                    </a:lnTo>
                    <a:lnTo>
                      <a:pt x="260578" y="211480"/>
                    </a:lnTo>
                    <a:lnTo>
                      <a:pt x="249016" y="169435"/>
                    </a:lnTo>
                    <a:lnTo>
                      <a:pt x="219837" y="142952"/>
                    </a:lnTo>
                    <a:lnTo>
                      <a:pt x="181299" y="127359"/>
                    </a:lnTo>
                    <a:lnTo>
                      <a:pt x="141660" y="117985"/>
                    </a:lnTo>
                    <a:lnTo>
                      <a:pt x="119330" y="113216"/>
                    </a:lnTo>
                    <a:lnTo>
                      <a:pt x="102966" y="107720"/>
                    </a:lnTo>
                    <a:lnTo>
                      <a:pt x="92902" y="100435"/>
                    </a:lnTo>
                    <a:lnTo>
                      <a:pt x="89473" y="90300"/>
                    </a:lnTo>
                    <a:lnTo>
                      <a:pt x="91313" y="81050"/>
                    </a:lnTo>
                    <a:lnTo>
                      <a:pt x="97367" y="73551"/>
                    </a:lnTo>
                    <a:lnTo>
                      <a:pt x="108437" y="68524"/>
                    </a:lnTo>
                    <a:lnTo>
                      <a:pt x="125326" y="66689"/>
                    </a:lnTo>
                    <a:lnTo>
                      <a:pt x="146369" y="68645"/>
                    </a:lnTo>
                    <a:lnTo>
                      <a:pt x="168489" y="74516"/>
                    </a:lnTo>
                    <a:lnTo>
                      <a:pt x="190362" y="84305"/>
                    </a:lnTo>
                    <a:lnTo>
                      <a:pt x="210663" y="98017"/>
                    </a:lnTo>
                    <a:lnTo>
                      <a:pt x="253301" y="42197"/>
                    </a:lnTo>
                    <a:lnTo>
                      <a:pt x="227314" y="23920"/>
                    </a:lnTo>
                    <a:lnTo>
                      <a:pt x="197916" y="10713"/>
                    </a:lnTo>
                    <a:lnTo>
                      <a:pt x="165458" y="2698"/>
                    </a:lnTo>
                    <a:lnTo>
                      <a:pt x="130289" y="0"/>
                    </a:lnTo>
                    <a:close/>
                  </a:path>
                </a:pathLst>
              </a:custGeom>
              <a:solidFill>
                <a:srgbClr val="00BFFF"/>
              </a:solidFill>
            </p:spPr>
            <p:txBody>
              <a:bodyPr wrap="square" lIns="0" tIns="0" rIns="0" bIns="0" rtlCol="0"/>
              <a:lstStyle/>
              <a:p>
                <a:endParaRPr kern="0">
                  <a:solidFill>
                    <a:sysClr val="windowText" lastClr="000000"/>
                  </a:solidFill>
                </a:endParaRPr>
              </a:p>
            </p:txBody>
          </p:sp>
        </p:grpSp>
        <p:sp>
          <p:nvSpPr>
            <p:cNvPr id="16" name="object 29">
              <a:extLst>
                <a:ext uri="{FF2B5EF4-FFF2-40B4-BE49-F238E27FC236}">
                  <a16:creationId xmlns:a16="http://schemas.microsoft.com/office/drawing/2014/main" id="{9FD187DE-53A9-991F-C994-DAE54605158D}"/>
                </a:ext>
              </a:extLst>
            </p:cNvPr>
            <p:cNvSpPr/>
            <p:nvPr/>
          </p:nvSpPr>
          <p:spPr>
            <a:xfrm>
              <a:off x="11126915" y="6279572"/>
              <a:ext cx="336097" cy="190186"/>
            </a:xfrm>
            <a:custGeom>
              <a:avLst/>
              <a:gdLst/>
              <a:ahLst/>
              <a:cxnLst/>
              <a:rect l="l" t="t" r="r" b="b"/>
              <a:pathLst>
                <a:path w="554355" h="313690">
                  <a:moveTo>
                    <a:pt x="247383" y="4508"/>
                  </a:moveTo>
                  <a:lnTo>
                    <a:pt x="0" y="4508"/>
                  </a:lnTo>
                  <a:lnTo>
                    <a:pt x="0" y="73088"/>
                  </a:lnTo>
                  <a:lnTo>
                    <a:pt x="84886" y="73088"/>
                  </a:lnTo>
                  <a:lnTo>
                    <a:pt x="84886" y="308038"/>
                  </a:lnTo>
                  <a:lnTo>
                    <a:pt x="162928" y="308038"/>
                  </a:lnTo>
                  <a:lnTo>
                    <a:pt x="162928" y="73088"/>
                  </a:lnTo>
                  <a:lnTo>
                    <a:pt x="247383" y="73088"/>
                  </a:lnTo>
                  <a:lnTo>
                    <a:pt x="247383" y="4508"/>
                  </a:lnTo>
                  <a:close/>
                </a:path>
                <a:path w="554355" h="313690">
                  <a:moveTo>
                    <a:pt x="554139" y="81254"/>
                  </a:moveTo>
                  <a:lnTo>
                    <a:pt x="535305" y="51714"/>
                  </a:lnTo>
                  <a:lnTo>
                    <a:pt x="507720" y="25654"/>
                  </a:lnTo>
                  <a:lnTo>
                    <a:pt x="469734" y="7086"/>
                  </a:lnTo>
                  <a:lnTo>
                    <a:pt x="419760" y="0"/>
                  </a:lnTo>
                  <a:lnTo>
                    <a:pt x="368109" y="7315"/>
                  </a:lnTo>
                  <a:lnTo>
                    <a:pt x="323684" y="28206"/>
                  </a:lnTo>
                  <a:lnTo>
                    <a:pt x="288937" y="61087"/>
                  </a:lnTo>
                  <a:lnTo>
                    <a:pt x="266293" y="104419"/>
                  </a:lnTo>
                  <a:lnTo>
                    <a:pt x="258191" y="156603"/>
                  </a:lnTo>
                  <a:lnTo>
                    <a:pt x="266280" y="208622"/>
                  </a:lnTo>
                  <a:lnTo>
                    <a:pt x="288912" y="251929"/>
                  </a:lnTo>
                  <a:lnTo>
                    <a:pt x="323672" y="284886"/>
                  </a:lnTo>
                  <a:lnTo>
                    <a:pt x="368096" y="305854"/>
                  </a:lnTo>
                  <a:lnTo>
                    <a:pt x="419760" y="313207"/>
                  </a:lnTo>
                  <a:lnTo>
                    <a:pt x="469798" y="306006"/>
                  </a:lnTo>
                  <a:lnTo>
                    <a:pt x="507885" y="287223"/>
                  </a:lnTo>
                  <a:lnTo>
                    <a:pt x="535495" y="261124"/>
                  </a:lnTo>
                  <a:lnTo>
                    <a:pt x="554139" y="231952"/>
                  </a:lnTo>
                  <a:lnTo>
                    <a:pt x="486943" y="200190"/>
                  </a:lnTo>
                  <a:lnTo>
                    <a:pt x="476643" y="217208"/>
                  </a:lnTo>
                  <a:lnTo>
                    <a:pt x="461352" y="231216"/>
                  </a:lnTo>
                  <a:lnTo>
                    <a:pt x="442074" y="240703"/>
                  </a:lnTo>
                  <a:lnTo>
                    <a:pt x="419760" y="244208"/>
                  </a:lnTo>
                  <a:lnTo>
                    <a:pt x="387032" y="237477"/>
                  </a:lnTo>
                  <a:lnTo>
                    <a:pt x="361010" y="218960"/>
                  </a:lnTo>
                  <a:lnTo>
                    <a:pt x="343827" y="191160"/>
                  </a:lnTo>
                  <a:lnTo>
                    <a:pt x="337629" y="156603"/>
                  </a:lnTo>
                  <a:lnTo>
                    <a:pt x="343827" y="122047"/>
                  </a:lnTo>
                  <a:lnTo>
                    <a:pt x="360984" y="94246"/>
                  </a:lnTo>
                  <a:lnTo>
                    <a:pt x="387007" y="75730"/>
                  </a:lnTo>
                  <a:lnTo>
                    <a:pt x="419760" y="69011"/>
                  </a:lnTo>
                  <a:lnTo>
                    <a:pt x="442074" y="72504"/>
                  </a:lnTo>
                  <a:lnTo>
                    <a:pt x="461352" y="81991"/>
                  </a:lnTo>
                  <a:lnTo>
                    <a:pt x="476643" y="95999"/>
                  </a:lnTo>
                  <a:lnTo>
                    <a:pt x="486943" y="113030"/>
                  </a:lnTo>
                  <a:lnTo>
                    <a:pt x="554139" y="81254"/>
                  </a:lnTo>
                  <a:close/>
                </a:path>
              </a:pathLst>
            </a:custGeom>
            <a:solidFill>
              <a:srgbClr val="FFFFFF"/>
            </a:solidFill>
          </p:spPr>
          <p:txBody>
            <a:bodyPr wrap="square" lIns="0" tIns="0" rIns="0" bIns="0" rtlCol="0"/>
            <a:lstStyle/>
            <a:p>
              <a:endParaRPr kern="0">
                <a:solidFill>
                  <a:sysClr val="windowText" lastClr="000000"/>
                </a:solidFill>
              </a:endParaRPr>
            </a:p>
          </p:txBody>
        </p:sp>
      </p:grpSp>
      <p:sp>
        <p:nvSpPr>
          <p:cNvPr id="19" name="Slide Number Box">
            <a:extLst>
              <a:ext uri="{FF2B5EF4-FFF2-40B4-BE49-F238E27FC236}">
                <a16:creationId xmlns:a16="http://schemas.microsoft.com/office/drawing/2014/main" id="{E4D665D4-9456-4BFE-7EC3-05AB4B0AE735}"/>
              </a:ext>
            </a:extLst>
          </p:cNvPr>
          <p:cNvSpPr txBox="1"/>
          <p:nvPr userDrawn="1"/>
        </p:nvSpPr>
        <p:spPr>
          <a:xfrm>
            <a:off x="11566535" y="6234575"/>
            <a:ext cx="279503" cy="283464"/>
          </a:xfrm>
          <a:prstGeom prst="rect">
            <a:avLst/>
          </a:prstGeom>
          <a:solidFill>
            <a:srgbClr val="FFD700"/>
          </a:solidFill>
        </p:spPr>
        <p:txBody>
          <a:bodyPr vert="horz" wrap="square" lIns="0" tIns="38884" rIns="0" bIns="0" rtlCol="0">
            <a:spAutoFit/>
          </a:bodyPr>
          <a:lstStyle/>
          <a:p>
            <a:pPr marL="55825" algn="ctr">
              <a:spcBef>
                <a:spcPts val="306"/>
              </a:spcBef>
            </a:pPr>
            <a:endParaRPr sz="1182">
              <a:latin typeface="Real Head Pro"/>
              <a:cs typeface="Real Head Pro"/>
            </a:endParaRPr>
          </a:p>
        </p:txBody>
      </p:sp>
      <p:sp>
        <p:nvSpPr>
          <p:cNvPr id="29" name="Slide Number Placeholder 29">
            <a:extLst>
              <a:ext uri="{FF2B5EF4-FFF2-40B4-BE49-F238E27FC236}">
                <a16:creationId xmlns:a16="http://schemas.microsoft.com/office/drawing/2014/main" id="{6E382458-B723-C4B9-E69F-E964EF9F325C}"/>
              </a:ext>
            </a:extLst>
          </p:cNvPr>
          <p:cNvSpPr>
            <a:spLocks noGrp="1"/>
          </p:cNvSpPr>
          <p:nvPr userDrawn="1">
            <p:ph type="sldNum" sz="quarter" idx="12"/>
          </p:nvPr>
        </p:nvSpPr>
        <p:spPr>
          <a:xfrm>
            <a:off x="11562574" y="6234576"/>
            <a:ext cx="283464" cy="283464"/>
          </a:xfrm>
        </p:spPr>
        <p:txBody>
          <a:bodyPr/>
          <a:lstStyle/>
          <a:p>
            <a:fld id="{FF7D9A68-EC15-4B1F-850C-8A6CCAFA90D8}" type="slidenum">
              <a:rPr lang="en-US" smtClean="0"/>
              <a:pPr/>
              <a:t>‹#›</a:t>
            </a:fld>
            <a:endParaRPr lang="en-US"/>
          </a:p>
        </p:txBody>
      </p:sp>
      <p:sp>
        <p:nvSpPr>
          <p:cNvPr id="24" name="Title 23">
            <a:extLst>
              <a:ext uri="{FF2B5EF4-FFF2-40B4-BE49-F238E27FC236}">
                <a16:creationId xmlns:a16="http://schemas.microsoft.com/office/drawing/2014/main" id="{CEBB91A9-6F0E-2D55-308F-665EE784ADE5}"/>
              </a:ext>
            </a:extLst>
          </p:cNvPr>
          <p:cNvSpPr>
            <a:spLocks noGrp="1"/>
          </p:cNvSpPr>
          <p:nvPr userDrawn="1">
            <p:ph type="title"/>
          </p:nvPr>
        </p:nvSpPr>
        <p:spPr/>
        <p:txBody>
          <a:bodyPr anchor="ct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88417234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2_Title with Overlay">
    <p:spTree>
      <p:nvGrpSpPr>
        <p:cNvPr id="1" name=""/>
        <p:cNvGrpSpPr/>
        <p:nvPr/>
      </p:nvGrpSpPr>
      <p:grpSpPr>
        <a:xfrm>
          <a:off x="0" y="0"/>
          <a:ext cx="0" cy="0"/>
          <a:chOff x="0" y="0"/>
          <a:chExt cx="0" cy="0"/>
        </a:xfrm>
      </p:grpSpPr>
      <p:sp>
        <p:nvSpPr>
          <p:cNvPr id="9" name="object 2">
            <a:extLst>
              <a:ext uri="{FF2B5EF4-FFF2-40B4-BE49-F238E27FC236}">
                <a16:creationId xmlns:a16="http://schemas.microsoft.com/office/drawing/2014/main" id="{66FE2BF9-5361-4FFA-321F-25D246DE516F}"/>
              </a:ext>
            </a:extLst>
          </p:cNvPr>
          <p:cNvSpPr/>
          <p:nvPr userDrawn="1"/>
        </p:nvSpPr>
        <p:spPr>
          <a:xfrm>
            <a:off x="1588" y="845"/>
            <a:ext cx="12188825" cy="6856310"/>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A3AFB8"/>
          </a:solidFill>
        </p:spPr>
        <p:txBody>
          <a:bodyPr wrap="square" lIns="0" tIns="0" rIns="0" bIns="0" rtlCol="0"/>
          <a:lstStyle/>
          <a:p>
            <a:endParaRPr/>
          </a:p>
        </p:txBody>
      </p:sp>
      <p:grpSp>
        <p:nvGrpSpPr>
          <p:cNvPr id="10" name="object 3">
            <a:extLst>
              <a:ext uri="{FF2B5EF4-FFF2-40B4-BE49-F238E27FC236}">
                <a16:creationId xmlns:a16="http://schemas.microsoft.com/office/drawing/2014/main" id="{753D11DD-16FC-3DFF-C131-326E9DB9B807}"/>
              </a:ext>
            </a:extLst>
          </p:cNvPr>
          <p:cNvGrpSpPr/>
          <p:nvPr userDrawn="1"/>
        </p:nvGrpSpPr>
        <p:grpSpPr>
          <a:xfrm>
            <a:off x="1588" y="773"/>
            <a:ext cx="12188825" cy="6856454"/>
            <a:chOff x="0" y="0"/>
            <a:chExt cx="20104100" cy="11308952"/>
          </a:xfrm>
        </p:grpSpPr>
        <p:pic>
          <p:nvPicPr>
            <p:cNvPr id="11" name="object 4">
              <a:extLst>
                <a:ext uri="{FF2B5EF4-FFF2-40B4-BE49-F238E27FC236}">
                  <a16:creationId xmlns:a16="http://schemas.microsoft.com/office/drawing/2014/main" id="{132C9ED8-93E2-1CA6-BDFB-E2620DB02BB0}"/>
                </a:ext>
              </a:extLst>
            </p:cNvPr>
            <p:cNvPicPr/>
            <p:nvPr/>
          </p:nvPicPr>
          <p:blipFill>
            <a:blip r:embed="rId2" cstate="print"/>
            <a:stretch>
              <a:fillRect/>
            </a:stretch>
          </p:blipFill>
          <p:spPr>
            <a:xfrm>
              <a:off x="0" y="0"/>
              <a:ext cx="20104100" cy="11308556"/>
            </a:xfrm>
            <a:prstGeom prst="rect">
              <a:avLst/>
            </a:prstGeom>
          </p:spPr>
        </p:pic>
        <p:sp>
          <p:nvSpPr>
            <p:cNvPr id="12" name="object 5">
              <a:extLst>
                <a:ext uri="{FF2B5EF4-FFF2-40B4-BE49-F238E27FC236}">
                  <a16:creationId xmlns:a16="http://schemas.microsoft.com/office/drawing/2014/main" id="{1E821BEA-322F-FCAA-8381-6C20B928F072}"/>
                </a:ext>
              </a:extLst>
            </p:cNvPr>
            <p:cNvSpPr/>
            <p:nvPr/>
          </p:nvSpPr>
          <p:spPr>
            <a:xfrm>
              <a:off x="0" y="0"/>
              <a:ext cx="20104100" cy="11308715"/>
            </a:xfrm>
            <a:custGeom>
              <a:avLst/>
              <a:gdLst/>
              <a:ahLst/>
              <a:cxnLst/>
              <a:rect l="l" t="t" r="r" b="b"/>
              <a:pathLst>
                <a:path w="20104100" h="11308715">
                  <a:moveTo>
                    <a:pt x="20104100" y="0"/>
                  </a:moveTo>
                  <a:lnTo>
                    <a:pt x="0" y="0"/>
                  </a:lnTo>
                  <a:lnTo>
                    <a:pt x="0" y="11308556"/>
                  </a:lnTo>
                  <a:lnTo>
                    <a:pt x="20104100" y="11308556"/>
                  </a:lnTo>
                  <a:lnTo>
                    <a:pt x="20104100" y="0"/>
                  </a:lnTo>
                  <a:close/>
                </a:path>
              </a:pathLst>
            </a:custGeom>
            <a:solidFill>
              <a:srgbClr val="A3AFB8">
                <a:alpha val="14799"/>
              </a:srgbClr>
            </a:solidFill>
          </p:spPr>
          <p:txBody>
            <a:bodyPr wrap="square" lIns="0" tIns="0" rIns="0" bIns="0" rtlCol="0"/>
            <a:lstStyle/>
            <a:p>
              <a:endParaRPr/>
            </a:p>
          </p:txBody>
        </p:sp>
        <p:pic>
          <p:nvPicPr>
            <p:cNvPr id="13" name="object 6">
              <a:extLst>
                <a:ext uri="{FF2B5EF4-FFF2-40B4-BE49-F238E27FC236}">
                  <a16:creationId xmlns:a16="http://schemas.microsoft.com/office/drawing/2014/main" id="{3904E7C7-1687-E5B3-D792-EC3205513950}"/>
                </a:ext>
              </a:extLst>
            </p:cNvPr>
            <p:cNvPicPr/>
            <p:nvPr/>
          </p:nvPicPr>
          <p:blipFill>
            <a:blip r:embed="rId3" cstate="print"/>
            <a:stretch>
              <a:fillRect/>
            </a:stretch>
          </p:blipFill>
          <p:spPr>
            <a:xfrm>
              <a:off x="0" y="0"/>
              <a:ext cx="20104098" cy="11308556"/>
            </a:xfrm>
            <a:prstGeom prst="rect">
              <a:avLst/>
            </a:prstGeom>
          </p:spPr>
        </p:pic>
        <p:sp>
          <p:nvSpPr>
            <p:cNvPr id="14" name="object 7">
              <a:extLst>
                <a:ext uri="{FF2B5EF4-FFF2-40B4-BE49-F238E27FC236}">
                  <a16:creationId xmlns:a16="http://schemas.microsoft.com/office/drawing/2014/main" id="{3ABC861D-73EC-A08A-2220-5B5499C2FFDB}"/>
                </a:ext>
              </a:extLst>
            </p:cNvPr>
            <p:cNvSpPr/>
            <p:nvPr/>
          </p:nvSpPr>
          <p:spPr>
            <a:xfrm>
              <a:off x="0" y="5654278"/>
              <a:ext cx="20104100" cy="5654674"/>
            </a:xfrm>
            <a:custGeom>
              <a:avLst/>
              <a:gdLst/>
              <a:ahLst/>
              <a:cxnLst/>
              <a:rect l="l" t="t" r="r" b="b"/>
              <a:pathLst>
                <a:path w="20104100" h="5654675">
                  <a:moveTo>
                    <a:pt x="20104100" y="0"/>
                  </a:moveTo>
                  <a:lnTo>
                    <a:pt x="0" y="0"/>
                  </a:lnTo>
                  <a:lnTo>
                    <a:pt x="0" y="5654278"/>
                  </a:lnTo>
                  <a:lnTo>
                    <a:pt x="20104100" y="5654278"/>
                  </a:lnTo>
                  <a:lnTo>
                    <a:pt x="20104100" y="0"/>
                  </a:lnTo>
                  <a:close/>
                </a:path>
              </a:pathLst>
            </a:custGeom>
            <a:solidFill>
              <a:srgbClr val="A3AFB8"/>
            </a:solidFill>
          </p:spPr>
          <p:txBody>
            <a:bodyPr wrap="square" lIns="0" tIns="0" rIns="0" bIns="0" rtlCol="0"/>
            <a:lstStyle/>
            <a:p>
              <a:endParaRPr/>
            </a:p>
          </p:txBody>
        </p:sp>
      </p:grpSp>
      <p:sp>
        <p:nvSpPr>
          <p:cNvPr id="24" name="Title 23">
            <a:extLst>
              <a:ext uri="{FF2B5EF4-FFF2-40B4-BE49-F238E27FC236}">
                <a16:creationId xmlns:a16="http://schemas.microsoft.com/office/drawing/2014/main" id="{CEBB91A9-6F0E-2D55-308F-665EE784ADE5}"/>
              </a:ext>
            </a:extLst>
          </p:cNvPr>
          <p:cNvSpPr>
            <a:spLocks noGrp="1"/>
          </p:cNvSpPr>
          <p:nvPr>
            <p:ph type="title"/>
          </p:nvPr>
        </p:nvSpPr>
        <p:spPr/>
        <p:txBody>
          <a:bodyPr anchor="ctr"/>
          <a:lstStyle>
            <a:lvl1pPr>
              <a:defRPr>
                <a:solidFill>
                  <a:schemeClr val="bg1"/>
                </a:solidFill>
              </a:defRPr>
            </a:lvl1pPr>
          </a:lstStyle>
          <a:p>
            <a:r>
              <a:rPr lang="en-US"/>
              <a:t>Click to edit Master title style</a:t>
            </a:r>
          </a:p>
        </p:txBody>
      </p:sp>
      <p:sp>
        <p:nvSpPr>
          <p:cNvPr id="25" name="Date Placeholder 24">
            <a:extLst>
              <a:ext uri="{FF2B5EF4-FFF2-40B4-BE49-F238E27FC236}">
                <a16:creationId xmlns:a16="http://schemas.microsoft.com/office/drawing/2014/main" id="{A57172BC-5EB5-C0CF-6CC0-97CFD6F72CB5}"/>
              </a:ext>
            </a:extLst>
          </p:cNvPr>
          <p:cNvSpPr>
            <a:spLocks noGrp="1"/>
          </p:cNvSpPr>
          <p:nvPr>
            <p:ph type="dt" sz="half" idx="10"/>
          </p:nvPr>
        </p:nvSpPr>
        <p:spPr/>
        <p:txBody>
          <a:bodyPr/>
          <a:lstStyle/>
          <a:p>
            <a:fld id="{51FAC167-1066-4F75-BBD8-AD23800D7D1F}" type="datetime1">
              <a:rPr lang="en-US" smtClean="0"/>
              <a:t>4/2/2025</a:t>
            </a:fld>
            <a:endParaRPr lang="en-US"/>
          </a:p>
        </p:txBody>
      </p:sp>
      <p:sp>
        <p:nvSpPr>
          <p:cNvPr id="26" name="Footer Placeholder 25">
            <a:extLst>
              <a:ext uri="{FF2B5EF4-FFF2-40B4-BE49-F238E27FC236}">
                <a16:creationId xmlns:a16="http://schemas.microsoft.com/office/drawing/2014/main" id="{92257F35-DE6E-9549-6ECF-1D42BE651129}"/>
              </a:ext>
            </a:extLst>
          </p:cNvPr>
          <p:cNvSpPr>
            <a:spLocks noGrp="1"/>
          </p:cNvSpPr>
          <p:nvPr>
            <p:ph type="ftr" sz="quarter" idx="11"/>
          </p:nvPr>
        </p:nvSpPr>
        <p:spPr/>
        <p:txBody>
          <a:bodyPr/>
          <a:lstStyle/>
          <a:p>
            <a:endParaRPr lang="en-US"/>
          </a:p>
        </p:txBody>
      </p:sp>
      <p:pic>
        <p:nvPicPr>
          <p:cNvPr id="2" name="Picture 1" descr="A close-up of a computer chip&#10;&#10;Description automatically generated">
            <a:extLst>
              <a:ext uri="{FF2B5EF4-FFF2-40B4-BE49-F238E27FC236}">
                <a16:creationId xmlns:a16="http://schemas.microsoft.com/office/drawing/2014/main" id="{F33A4FDF-F55B-87BA-BD89-B8E24692ACE5}"/>
              </a:ext>
            </a:extLst>
          </p:cNvPr>
          <p:cNvPicPr>
            <a:picLocks noChangeAspect="1"/>
          </p:cNvPicPr>
          <p:nvPr userDrawn="1"/>
        </p:nvPicPr>
        <p:blipFill>
          <a:blip r:embed="rId4">
            <a:alphaModFix amt="50000"/>
            <a:extLst>
              <a:ext uri="{BEBA8EAE-BF5A-486C-A8C5-ECC9F3942E4B}">
                <a14:imgProps xmlns:a14="http://schemas.microsoft.com/office/drawing/2010/main">
                  <a14:imgLayer r:embed="rId5">
                    <a14:imgEffect>
                      <a14:brightnessContrast bright="15000"/>
                    </a14:imgEffect>
                  </a14:imgLayer>
                </a14:imgProps>
              </a:ext>
              <a:ext uri="{28A0092B-C50C-407E-A947-70E740481C1C}">
                <a14:useLocalDpi xmlns:a14="http://schemas.microsoft.com/office/drawing/2010/main" val="0"/>
              </a:ext>
            </a:extLst>
          </a:blip>
          <a:srcRect l="4344" t="5917" r="3550" b="-446"/>
          <a:stretch/>
        </p:blipFill>
        <p:spPr>
          <a:xfrm>
            <a:off x="-19050" y="1787"/>
            <a:ext cx="12188823" cy="6856213"/>
          </a:xfrm>
          <a:prstGeom prst="rect">
            <a:avLst/>
          </a:prstGeom>
        </p:spPr>
      </p:pic>
      <p:grpSp>
        <p:nvGrpSpPr>
          <p:cNvPr id="3" name="Group 2">
            <a:extLst>
              <a:ext uri="{FF2B5EF4-FFF2-40B4-BE49-F238E27FC236}">
                <a16:creationId xmlns:a16="http://schemas.microsoft.com/office/drawing/2014/main" id="{72F2CAAC-0700-FFC0-7BD0-10F45CF17C69}"/>
              </a:ext>
            </a:extLst>
          </p:cNvPr>
          <p:cNvGrpSpPr/>
          <p:nvPr userDrawn="1"/>
        </p:nvGrpSpPr>
        <p:grpSpPr>
          <a:xfrm>
            <a:off x="10768672" y="6279572"/>
            <a:ext cx="694340" cy="190186"/>
            <a:chOff x="10768672" y="6279572"/>
            <a:chExt cx="694340" cy="190186"/>
          </a:xfrm>
        </p:grpSpPr>
        <p:grpSp>
          <p:nvGrpSpPr>
            <p:cNvPr id="4" name="object 26">
              <a:extLst>
                <a:ext uri="{FF2B5EF4-FFF2-40B4-BE49-F238E27FC236}">
                  <a16:creationId xmlns:a16="http://schemas.microsoft.com/office/drawing/2014/main" id="{807DCF89-85D0-E735-E32D-590D1DC82323}"/>
                </a:ext>
              </a:extLst>
            </p:cNvPr>
            <p:cNvGrpSpPr/>
            <p:nvPr/>
          </p:nvGrpSpPr>
          <p:grpSpPr>
            <a:xfrm>
              <a:off x="10768672" y="6279841"/>
              <a:ext cx="348802" cy="189801"/>
              <a:chOff x="17759098" y="10356815"/>
              <a:chExt cx="575310" cy="313055"/>
            </a:xfrm>
          </p:grpSpPr>
          <p:sp>
            <p:nvSpPr>
              <p:cNvPr id="6" name="object 27">
                <a:extLst>
                  <a:ext uri="{FF2B5EF4-FFF2-40B4-BE49-F238E27FC236}">
                    <a16:creationId xmlns:a16="http://schemas.microsoft.com/office/drawing/2014/main" id="{04312728-0582-EED9-A0C8-93C59DF55FCE}"/>
                  </a:ext>
                </a:extLst>
              </p:cNvPr>
              <p:cNvSpPr/>
              <p:nvPr/>
            </p:nvSpPr>
            <p:spPr>
              <a:xfrm>
                <a:off x="17759098" y="10361392"/>
                <a:ext cx="281940" cy="302895"/>
              </a:xfrm>
              <a:custGeom>
                <a:avLst/>
                <a:gdLst/>
                <a:ahLst/>
                <a:cxnLst/>
                <a:rect l="l" t="t" r="r" b="b"/>
                <a:pathLst>
                  <a:path w="281940" h="302895">
                    <a:moveTo>
                      <a:pt x="281478" y="0"/>
                    </a:moveTo>
                    <a:lnTo>
                      <a:pt x="202936" y="0"/>
                    </a:lnTo>
                    <a:lnTo>
                      <a:pt x="202936" y="174308"/>
                    </a:lnTo>
                    <a:lnTo>
                      <a:pt x="80364" y="0"/>
                    </a:lnTo>
                    <a:lnTo>
                      <a:pt x="0" y="0"/>
                    </a:lnTo>
                    <a:lnTo>
                      <a:pt x="0" y="302723"/>
                    </a:lnTo>
                    <a:lnTo>
                      <a:pt x="78049" y="302723"/>
                    </a:lnTo>
                    <a:lnTo>
                      <a:pt x="78049" y="119807"/>
                    </a:lnTo>
                    <a:lnTo>
                      <a:pt x="206129" y="302776"/>
                    </a:lnTo>
                    <a:lnTo>
                      <a:pt x="281478" y="302776"/>
                    </a:lnTo>
                    <a:lnTo>
                      <a:pt x="281478" y="0"/>
                    </a:lnTo>
                    <a:close/>
                  </a:path>
                </a:pathLst>
              </a:custGeom>
              <a:solidFill>
                <a:srgbClr val="FFFFFF"/>
              </a:solidFill>
            </p:spPr>
            <p:txBody>
              <a:bodyPr wrap="square" lIns="0" tIns="0" rIns="0" bIns="0" rtlCol="0"/>
              <a:lstStyle/>
              <a:p>
                <a:endParaRPr kern="0">
                  <a:solidFill>
                    <a:sysClr val="windowText" lastClr="000000"/>
                  </a:solidFill>
                </a:endParaRPr>
              </a:p>
            </p:txBody>
          </p:sp>
          <p:sp>
            <p:nvSpPr>
              <p:cNvPr id="7" name="object 28">
                <a:extLst>
                  <a:ext uri="{FF2B5EF4-FFF2-40B4-BE49-F238E27FC236}">
                    <a16:creationId xmlns:a16="http://schemas.microsoft.com/office/drawing/2014/main" id="{01D1FF22-5B0F-FC7B-7B63-C2DF43FF836A}"/>
                  </a:ext>
                </a:extLst>
              </p:cNvPr>
              <p:cNvSpPr/>
              <p:nvPr/>
            </p:nvSpPr>
            <p:spPr>
              <a:xfrm>
                <a:off x="18073618" y="10356815"/>
                <a:ext cx="260985" cy="313055"/>
              </a:xfrm>
              <a:custGeom>
                <a:avLst/>
                <a:gdLst/>
                <a:ahLst/>
                <a:cxnLst/>
                <a:rect l="l" t="t" r="r" b="b"/>
                <a:pathLst>
                  <a:path w="260984" h="313054">
                    <a:moveTo>
                      <a:pt x="130289" y="0"/>
                    </a:moveTo>
                    <a:lnTo>
                      <a:pt x="78682" y="7671"/>
                    </a:lnTo>
                    <a:lnTo>
                      <a:pt x="40822" y="28360"/>
                    </a:lnTo>
                    <a:lnTo>
                      <a:pt x="17523" y="58574"/>
                    </a:lnTo>
                    <a:lnTo>
                      <a:pt x="9601" y="94824"/>
                    </a:lnTo>
                    <a:lnTo>
                      <a:pt x="21302" y="138425"/>
                    </a:lnTo>
                    <a:lnTo>
                      <a:pt x="50787" y="165184"/>
                    </a:lnTo>
                    <a:lnTo>
                      <a:pt x="89631" y="180370"/>
                    </a:lnTo>
                    <a:lnTo>
                      <a:pt x="129409" y="189250"/>
                    </a:lnTo>
                    <a:lnTo>
                      <a:pt x="151085" y="194533"/>
                    </a:lnTo>
                    <a:lnTo>
                      <a:pt x="167360" y="200784"/>
                    </a:lnTo>
                    <a:lnTo>
                      <a:pt x="177593" y="208990"/>
                    </a:lnTo>
                    <a:lnTo>
                      <a:pt x="181146" y="220139"/>
                    </a:lnTo>
                    <a:lnTo>
                      <a:pt x="178169" y="230305"/>
                    </a:lnTo>
                    <a:lnTo>
                      <a:pt x="169613" y="238518"/>
                    </a:lnTo>
                    <a:lnTo>
                      <a:pt x="156042" y="244011"/>
                    </a:lnTo>
                    <a:lnTo>
                      <a:pt x="138016" y="246013"/>
                    </a:lnTo>
                    <a:lnTo>
                      <a:pt x="108540" y="242837"/>
                    </a:lnTo>
                    <a:lnTo>
                      <a:pt x="82344" y="234216"/>
                    </a:lnTo>
                    <a:lnTo>
                      <a:pt x="59809" y="221510"/>
                    </a:lnTo>
                    <a:lnTo>
                      <a:pt x="41318" y="206025"/>
                    </a:lnTo>
                    <a:lnTo>
                      <a:pt x="0" y="264599"/>
                    </a:lnTo>
                    <a:lnTo>
                      <a:pt x="25223" y="284356"/>
                    </a:lnTo>
                    <a:lnTo>
                      <a:pt x="55622" y="299531"/>
                    </a:lnTo>
                    <a:lnTo>
                      <a:pt x="91803" y="309266"/>
                    </a:lnTo>
                    <a:lnTo>
                      <a:pt x="134372" y="312702"/>
                    </a:lnTo>
                    <a:lnTo>
                      <a:pt x="188371" y="305443"/>
                    </a:lnTo>
                    <a:lnTo>
                      <a:pt x="227945" y="284908"/>
                    </a:lnTo>
                    <a:lnTo>
                      <a:pt x="252285" y="252965"/>
                    </a:lnTo>
                    <a:lnTo>
                      <a:pt x="260578" y="211480"/>
                    </a:lnTo>
                    <a:lnTo>
                      <a:pt x="249016" y="169435"/>
                    </a:lnTo>
                    <a:lnTo>
                      <a:pt x="219837" y="142952"/>
                    </a:lnTo>
                    <a:lnTo>
                      <a:pt x="181299" y="127359"/>
                    </a:lnTo>
                    <a:lnTo>
                      <a:pt x="141660" y="117985"/>
                    </a:lnTo>
                    <a:lnTo>
                      <a:pt x="119330" y="113216"/>
                    </a:lnTo>
                    <a:lnTo>
                      <a:pt x="102966" y="107720"/>
                    </a:lnTo>
                    <a:lnTo>
                      <a:pt x="92902" y="100435"/>
                    </a:lnTo>
                    <a:lnTo>
                      <a:pt x="89473" y="90300"/>
                    </a:lnTo>
                    <a:lnTo>
                      <a:pt x="91313" y="81050"/>
                    </a:lnTo>
                    <a:lnTo>
                      <a:pt x="97367" y="73551"/>
                    </a:lnTo>
                    <a:lnTo>
                      <a:pt x="108437" y="68524"/>
                    </a:lnTo>
                    <a:lnTo>
                      <a:pt x="125326" y="66689"/>
                    </a:lnTo>
                    <a:lnTo>
                      <a:pt x="146369" y="68645"/>
                    </a:lnTo>
                    <a:lnTo>
                      <a:pt x="168489" y="74516"/>
                    </a:lnTo>
                    <a:lnTo>
                      <a:pt x="190362" y="84305"/>
                    </a:lnTo>
                    <a:lnTo>
                      <a:pt x="210663" y="98017"/>
                    </a:lnTo>
                    <a:lnTo>
                      <a:pt x="253301" y="42197"/>
                    </a:lnTo>
                    <a:lnTo>
                      <a:pt x="227314" y="23920"/>
                    </a:lnTo>
                    <a:lnTo>
                      <a:pt x="197916" y="10713"/>
                    </a:lnTo>
                    <a:lnTo>
                      <a:pt x="165458" y="2698"/>
                    </a:lnTo>
                    <a:lnTo>
                      <a:pt x="130289" y="0"/>
                    </a:lnTo>
                    <a:close/>
                  </a:path>
                </a:pathLst>
              </a:custGeom>
              <a:solidFill>
                <a:srgbClr val="00BFFF"/>
              </a:solidFill>
            </p:spPr>
            <p:txBody>
              <a:bodyPr wrap="square" lIns="0" tIns="0" rIns="0" bIns="0" rtlCol="0"/>
              <a:lstStyle/>
              <a:p>
                <a:endParaRPr kern="0">
                  <a:solidFill>
                    <a:sysClr val="windowText" lastClr="000000"/>
                  </a:solidFill>
                </a:endParaRPr>
              </a:p>
            </p:txBody>
          </p:sp>
        </p:grpSp>
        <p:sp>
          <p:nvSpPr>
            <p:cNvPr id="5" name="object 29">
              <a:extLst>
                <a:ext uri="{FF2B5EF4-FFF2-40B4-BE49-F238E27FC236}">
                  <a16:creationId xmlns:a16="http://schemas.microsoft.com/office/drawing/2014/main" id="{7216B096-5417-5DD5-7280-213C4DC26E1E}"/>
                </a:ext>
              </a:extLst>
            </p:cNvPr>
            <p:cNvSpPr/>
            <p:nvPr/>
          </p:nvSpPr>
          <p:spPr>
            <a:xfrm>
              <a:off x="11126915" y="6279572"/>
              <a:ext cx="336097" cy="190186"/>
            </a:xfrm>
            <a:custGeom>
              <a:avLst/>
              <a:gdLst/>
              <a:ahLst/>
              <a:cxnLst/>
              <a:rect l="l" t="t" r="r" b="b"/>
              <a:pathLst>
                <a:path w="554355" h="313690">
                  <a:moveTo>
                    <a:pt x="247383" y="4508"/>
                  </a:moveTo>
                  <a:lnTo>
                    <a:pt x="0" y="4508"/>
                  </a:lnTo>
                  <a:lnTo>
                    <a:pt x="0" y="73088"/>
                  </a:lnTo>
                  <a:lnTo>
                    <a:pt x="84886" y="73088"/>
                  </a:lnTo>
                  <a:lnTo>
                    <a:pt x="84886" y="308038"/>
                  </a:lnTo>
                  <a:lnTo>
                    <a:pt x="162928" y="308038"/>
                  </a:lnTo>
                  <a:lnTo>
                    <a:pt x="162928" y="73088"/>
                  </a:lnTo>
                  <a:lnTo>
                    <a:pt x="247383" y="73088"/>
                  </a:lnTo>
                  <a:lnTo>
                    <a:pt x="247383" y="4508"/>
                  </a:lnTo>
                  <a:close/>
                </a:path>
                <a:path w="554355" h="313690">
                  <a:moveTo>
                    <a:pt x="554139" y="81254"/>
                  </a:moveTo>
                  <a:lnTo>
                    <a:pt x="535305" y="51714"/>
                  </a:lnTo>
                  <a:lnTo>
                    <a:pt x="507720" y="25654"/>
                  </a:lnTo>
                  <a:lnTo>
                    <a:pt x="469734" y="7086"/>
                  </a:lnTo>
                  <a:lnTo>
                    <a:pt x="419760" y="0"/>
                  </a:lnTo>
                  <a:lnTo>
                    <a:pt x="368109" y="7315"/>
                  </a:lnTo>
                  <a:lnTo>
                    <a:pt x="323684" y="28206"/>
                  </a:lnTo>
                  <a:lnTo>
                    <a:pt x="288937" y="61087"/>
                  </a:lnTo>
                  <a:lnTo>
                    <a:pt x="266293" y="104419"/>
                  </a:lnTo>
                  <a:lnTo>
                    <a:pt x="258191" y="156603"/>
                  </a:lnTo>
                  <a:lnTo>
                    <a:pt x="266280" y="208622"/>
                  </a:lnTo>
                  <a:lnTo>
                    <a:pt x="288912" y="251929"/>
                  </a:lnTo>
                  <a:lnTo>
                    <a:pt x="323672" y="284886"/>
                  </a:lnTo>
                  <a:lnTo>
                    <a:pt x="368096" y="305854"/>
                  </a:lnTo>
                  <a:lnTo>
                    <a:pt x="419760" y="313207"/>
                  </a:lnTo>
                  <a:lnTo>
                    <a:pt x="469798" y="306006"/>
                  </a:lnTo>
                  <a:lnTo>
                    <a:pt x="507885" y="287223"/>
                  </a:lnTo>
                  <a:lnTo>
                    <a:pt x="535495" y="261124"/>
                  </a:lnTo>
                  <a:lnTo>
                    <a:pt x="554139" y="231952"/>
                  </a:lnTo>
                  <a:lnTo>
                    <a:pt x="486943" y="200190"/>
                  </a:lnTo>
                  <a:lnTo>
                    <a:pt x="476643" y="217208"/>
                  </a:lnTo>
                  <a:lnTo>
                    <a:pt x="461352" y="231216"/>
                  </a:lnTo>
                  <a:lnTo>
                    <a:pt x="442074" y="240703"/>
                  </a:lnTo>
                  <a:lnTo>
                    <a:pt x="419760" y="244208"/>
                  </a:lnTo>
                  <a:lnTo>
                    <a:pt x="387032" y="237477"/>
                  </a:lnTo>
                  <a:lnTo>
                    <a:pt x="361010" y="218960"/>
                  </a:lnTo>
                  <a:lnTo>
                    <a:pt x="343827" y="191160"/>
                  </a:lnTo>
                  <a:lnTo>
                    <a:pt x="337629" y="156603"/>
                  </a:lnTo>
                  <a:lnTo>
                    <a:pt x="343827" y="122047"/>
                  </a:lnTo>
                  <a:lnTo>
                    <a:pt x="360984" y="94246"/>
                  </a:lnTo>
                  <a:lnTo>
                    <a:pt x="387007" y="75730"/>
                  </a:lnTo>
                  <a:lnTo>
                    <a:pt x="419760" y="69011"/>
                  </a:lnTo>
                  <a:lnTo>
                    <a:pt x="442074" y="72504"/>
                  </a:lnTo>
                  <a:lnTo>
                    <a:pt x="461352" y="81991"/>
                  </a:lnTo>
                  <a:lnTo>
                    <a:pt x="476643" y="95999"/>
                  </a:lnTo>
                  <a:lnTo>
                    <a:pt x="486943" y="113030"/>
                  </a:lnTo>
                  <a:lnTo>
                    <a:pt x="554139" y="81254"/>
                  </a:lnTo>
                  <a:close/>
                </a:path>
              </a:pathLst>
            </a:custGeom>
            <a:solidFill>
              <a:srgbClr val="FFFFFF"/>
            </a:solidFill>
          </p:spPr>
          <p:txBody>
            <a:bodyPr wrap="square" lIns="0" tIns="0" rIns="0" bIns="0" rtlCol="0"/>
            <a:lstStyle/>
            <a:p>
              <a:endParaRPr kern="0">
                <a:solidFill>
                  <a:sysClr val="windowText" lastClr="000000"/>
                </a:solidFill>
              </a:endParaRPr>
            </a:p>
          </p:txBody>
        </p:sp>
      </p:grpSp>
      <p:sp>
        <p:nvSpPr>
          <p:cNvPr id="8" name="Slide Number Box">
            <a:extLst>
              <a:ext uri="{FF2B5EF4-FFF2-40B4-BE49-F238E27FC236}">
                <a16:creationId xmlns:a16="http://schemas.microsoft.com/office/drawing/2014/main" id="{4F61EBA6-C752-C41E-E57B-73A638276B62}"/>
              </a:ext>
            </a:extLst>
          </p:cNvPr>
          <p:cNvSpPr txBox="1"/>
          <p:nvPr userDrawn="1"/>
        </p:nvSpPr>
        <p:spPr>
          <a:xfrm>
            <a:off x="11566535" y="6234575"/>
            <a:ext cx="279503" cy="283464"/>
          </a:xfrm>
          <a:prstGeom prst="rect">
            <a:avLst/>
          </a:prstGeom>
          <a:solidFill>
            <a:srgbClr val="FFD700"/>
          </a:solidFill>
        </p:spPr>
        <p:txBody>
          <a:bodyPr vert="horz" wrap="square" lIns="0" tIns="38884" rIns="0" bIns="0" rtlCol="0">
            <a:spAutoFit/>
          </a:bodyPr>
          <a:lstStyle/>
          <a:p>
            <a:pPr marL="55825" algn="ctr">
              <a:spcBef>
                <a:spcPts val="306"/>
              </a:spcBef>
            </a:pPr>
            <a:endParaRPr sz="1182">
              <a:latin typeface="Real Head Pro"/>
              <a:cs typeface="Real Head Pro"/>
            </a:endParaRPr>
          </a:p>
        </p:txBody>
      </p:sp>
      <p:sp>
        <p:nvSpPr>
          <p:cNvPr id="15" name="Slide Number Placeholder 29">
            <a:extLst>
              <a:ext uri="{FF2B5EF4-FFF2-40B4-BE49-F238E27FC236}">
                <a16:creationId xmlns:a16="http://schemas.microsoft.com/office/drawing/2014/main" id="{D07999A6-3758-E23C-F670-F18708063860}"/>
              </a:ext>
            </a:extLst>
          </p:cNvPr>
          <p:cNvSpPr>
            <a:spLocks noGrp="1"/>
          </p:cNvSpPr>
          <p:nvPr>
            <p:ph type="sldNum" sz="quarter" idx="12"/>
          </p:nvPr>
        </p:nvSpPr>
        <p:spPr>
          <a:xfrm>
            <a:off x="11562574" y="6234576"/>
            <a:ext cx="283464" cy="283464"/>
          </a:xfrm>
        </p:spPr>
        <p:txBody>
          <a:bodyPr/>
          <a:lstStyle/>
          <a:p>
            <a:fld id="{FF7D9A68-EC15-4B1F-850C-8A6CCAFA90D8}" type="slidenum">
              <a:rPr lang="en-US" smtClean="0"/>
              <a:pPr/>
              <a:t>‹#›</a:t>
            </a:fld>
            <a:endParaRPr lang="en-US"/>
          </a:p>
        </p:txBody>
      </p:sp>
    </p:spTree>
    <p:extLst>
      <p:ext uri="{BB962C8B-B14F-4D97-AF65-F5344CB8AC3E}">
        <p14:creationId xmlns:p14="http://schemas.microsoft.com/office/powerpoint/2010/main" val="328856652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2_Tech Background Image">
    <p:bg>
      <p:bgPr>
        <a:solidFill>
          <a:schemeClr val="accent1"/>
        </a:solidFill>
        <a:effectLst/>
      </p:bgPr>
    </p:bg>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29D9B89B-6C49-FE14-4CC5-06BF022C9EFD}"/>
              </a:ext>
            </a:extLst>
          </p:cNvPr>
          <p:cNvPicPr>
            <a:picLocks noChangeAspect="1" noChangeArrowheads="1"/>
          </p:cNvPicPr>
          <p:nvPr userDrawn="1"/>
        </p:nvPicPr>
        <p:blipFill rotWithShape="1">
          <a:blip r:embed="rId2">
            <a:alphaModFix amt="25000"/>
            <a:extLst>
              <a:ext uri="{28A0092B-C50C-407E-A947-70E740481C1C}">
                <a14:useLocalDpi xmlns:a14="http://schemas.microsoft.com/office/drawing/2010/main" val="0"/>
              </a:ext>
            </a:extLst>
          </a:blip>
          <a:srcRect l="10754" t="14777" r="10573" b="6513"/>
          <a:stretch/>
        </p:blipFill>
        <p:spPr bwMode="auto">
          <a:xfrm>
            <a:off x="1588" y="0"/>
            <a:ext cx="12188824" cy="6858000"/>
          </a:xfrm>
          <a:prstGeom prst="rect">
            <a:avLst/>
          </a:prstGeom>
          <a:noFill/>
          <a:extLst>
            <a:ext uri="{909E8E84-426E-40DD-AFC4-6F175D3DCCD1}">
              <a14:hiddenFill xmlns:a14="http://schemas.microsoft.com/office/drawing/2010/main">
                <a:solidFill>
                  <a:srgbClr val="FFFFFF"/>
                </a:solidFill>
              </a14:hiddenFill>
            </a:ext>
          </a:extLst>
        </p:spPr>
      </p:pic>
      <p:pic>
        <p:nvPicPr>
          <p:cNvPr id="7" name="object 6">
            <a:extLst>
              <a:ext uri="{FF2B5EF4-FFF2-40B4-BE49-F238E27FC236}">
                <a16:creationId xmlns:a16="http://schemas.microsoft.com/office/drawing/2014/main" id="{AE39237E-7A8D-CC3A-789F-2C0F7108819C}"/>
              </a:ext>
            </a:extLst>
          </p:cNvPr>
          <p:cNvPicPr/>
          <p:nvPr userDrawn="1"/>
        </p:nvPicPr>
        <p:blipFill>
          <a:blip r:embed="rId3" cstate="print">
            <a:alphaModFix amt="15000"/>
          </a:blip>
          <a:stretch>
            <a:fillRect/>
          </a:stretch>
        </p:blipFill>
        <p:spPr>
          <a:xfrm>
            <a:off x="0" y="0"/>
            <a:ext cx="12344400" cy="7009507"/>
          </a:xfrm>
          <a:prstGeom prst="rect">
            <a:avLst/>
          </a:prstGeom>
        </p:spPr>
      </p:pic>
      <p:pic>
        <p:nvPicPr>
          <p:cNvPr id="6" name="object 6">
            <a:extLst>
              <a:ext uri="{FF2B5EF4-FFF2-40B4-BE49-F238E27FC236}">
                <a16:creationId xmlns:a16="http://schemas.microsoft.com/office/drawing/2014/main" id="{9708983F-1698-E50D-7FA5-483DE66E4A6A}"/>
              </a:ext>
            </a:extLst>
          </p:cNvPr>
          <p:cNvPicPr/>
          <p:nvPr userDrawn="1"/>
        </p:nvPicPr>
        <p:blipFill>
          <a:blip r:embed="rId3" cstate="print">
            <a:alphaModFix amt="15000"/>
          </a:blip>
          <a:stretch>
            <a:fillRect/>
          </a:stretch>
        </p:blipFill>
        <p:spPr>
          <a:xfrm>
            <a:off x="155576" y="893"/>
            <a:ext cx="12188824" cy="6856214"/>
          </a:xfrm>
          <a:prstGeom prst="rect">
            <a:avLst/>
          </a:prstGeom>
        </p:spPr>
      </p:pic>
      <p:sp>
        <p:nvSpPr>
          <p:cNvPr id="2" name="Title 1">
            <a:extLst>
              <a:ext uri="{FF2B5EF4-FFF2-40B4-BE49-F238E27FC236}">
                <a16:creationId xmlns:a16="http://schemas.microsoft.com/office/drawing/2014/main" id="{8B7410AC-AD64-E7AB-9C75-4011FECA552E}"/>
              </a:ext>
            </a:extLst>
          </p:cNvPr>
          <p:cNvSpPr>
            <a:spLocks noGrp="1"/>
          </p:cNvSpPr>
          <p:nvPr>
            <p:ph type="title"/>
          </p:nvPr>
        </p:nvSpPr>
        <p:spPr/>
        <p:txBody>
          <a:bodyPr anchor="ct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5F0C5D14-38AD-28B4-69C1-23A1DC77784E}"/>
              </a:ext>
            </a:extLst>
          </p:cNvPr>
          <p:cNvSpPr>
            <a:spLocks noGrp="1"/>
          </p:cNvSpPr>
          <p:nvPr>
            <p:ph type="dt" sz="half" idx="10"/>
          </p:nvPr>
        </p:nvSpPr>
        <p:spPr/>
        <p:txBody>
          <a:bodyPr/>
          <a:lstStyle/>
          <a:p>
            <a:fld id="{9A5D80D6-DF3C-4908-938F-A45E5DC17A7C}" type="datetime1">
              <a:rPr lang="en-US" smtClean="0"/>
              <a:t>4/2/2025</a:t>
            </a:fld>
            <a:endParaRPr lang="en-US"/>
          </a:p>
        </p:txBody>
      </p:sp>
      <p:sp>
        <p:nvSpPr>
          <p:cNvPr id="4" name="Footer Placeholder 3">
            <a:extLst>
              <a:ext uri="{FF2B5EF4-FFF2-40B4-BE49-F238E27FC236}">
                <a16:creationId xmlns:a16="http://schemas.microsoft.com/office/drawing/2014/main" id="{EA640E17-A7E4-A9D8-6E13-2A5E89BB1703}"/>
              </a:ext>
            </a:extLst>
          </p:cNvPr>
          <p:cNvSpPr>
            <a:spLocks noGrp="1"/>
          </p:cNvSpPr>
          <p:nvPr>
            <p:ph type="ftr" sz="quarter" idx="11"/>
          </p:nvPr>
        </p:nvSpPr>
        <p:spPr/>
        <p:txBody>
          <a:bodyPr/>
          <a:lstStyle/>
          <a:p>
            <a:endParaRPr lang="en-US"/>
          </a:p>
        </p:txBody>
      </p:sp>
      <p:sp>
        <p:nvSpPr>
          <p:cNvPr id="20" name="Slide Number Box">
            <a:extLst>
              <a:ext uri="{FF2B5EF4-FFF2-40B4-BE49-F238E27FC236}">
                <a16:creationId xmlns:a16="http://schemas.microsoft.com/office/drawing/2014/main" id="{D9C7A0F6-5910-C0B5-199D-DAA68A4E026F}"/>
              </a:ext>
            </a:extLst>
          </p:cNvPr>
          <p:cNvSpPr txBox="1"/>
          <p:nvPr userDrawn="1"/>
        </p:nvSpPr>
        <p:spPr>
          <a:xfrm>
            <a:off x="11566535" y="6234575"/>
            <a:ext cx="279503" cy="283464"/>
          </a:xfrm>
          <a:prstGeom prst="rect">
            <a:avLst/>
          </a:prstGeom>
          <a:solidFill>
            <a:srgbClr val="FFD700"/>
          </a:solidFill>
        </p:spPr>
        <p:txBody>
          <a:bodyPr vert="horz" wrap="square" lIns="0" tIns="38884" rIns="0" bIns="0" rtlCol="0">
            <a:spAutoFit/>
          </a:bodyPr>
          <a:lstStyle/>
          <a:p>
            <a:pPr marL="55825" algn="ctr">
              <a:spcBef>
                <a:spcPts val="306"/>
              </a:spcBef>
            </a:pPr>
            <a:endParaRPr sz="1182">
              <a:latin typeface="Real Head Pro"/>
              <a:cs typeface="Real Head Pro"/>
            </a:endParaRPr>
          </a:p>
        </p:txBody>
      </p:sp>
      <p:sp>
        <p:nvSpPr>
          <p:cNvPr id="5" name="Slide Number Placeholder 4">
            <a:extLst>
              <a:ext uri="{FF2B5EF4-FFF2-40B4-BE49-F238E27FC236}">
                <a16:creationId xmlns:a16="http://schemas.microsoft.com/office/drawing/2014/main" id="{7457052D-6E27-FBC0-A40D-D914851C4C3C}"/>
              </a:ext>
            </a:extLst>
          </p:cNvPr>
          <p:cNvSpPr>
            <a:spLocks noGrp="1"/>
          </p:cNvSpPr>
          <p:nvPr>
            <p:ph type="sldNum" sz="quarter" idx="12"/>
          </p:nvPr>
        </p:nvSpPr>
        <p:spPr/>
        <p:txBody>
          <a:bodyPr/>
          <a:lstStyle/>
          <a:p>
            <a:fld id="{FF7D9A68-EC15-4B1F-850C-8A6CCAFA90D8}" type="slidenum">
              <a:rPr lang="en-US" smtClean="0"/>
              <a:pPr/>
              <a:t>‹#›</a:t>
            </a:fld>
            <a:endParaRPr lang="en-US"/>
          </a:p>
        </p:txBody>
      </p:sp>
      <p:grpSp>
        <p:nvGrpSpPr>
          <p:cNvPr id="10" name="Group 9">
            <a:extLst>
              <a:ext uri="{FF2B5EF4-FFF2-40B4-BE49-F238E27FC236}">
                <a16:creationId xmlns:a16="http://schemas.microsoft.com/office/drawing/2014/main" id="{1E7C50CB-413A-8600-BE79-47C98E6BEDFE}"/>
              </a:ext>
            </a:extLst>
          </p:cNvPr>
          <p:cNvGrpSpPr/>
          <p:nvPr userDrawn="1"/>
        </p:nvGrpSpPr>
        <p:grpSpPr>
          <a:xfrm>
            <a:off x="10768672" y="6279572"/>
            <a:ext cx="694340" cy="190186"/>
            <a:chOff x="10768672" y="6279572"/>
            <a:chExt cx="694340" cy="190186"/>
          </a:xfrm>
        </p:grpSpPr>
        <p:grpSp>
          <p:nvGrpSpPr>
            <p:cNvPr id="11" name="object 26">
              <a:extLst>
                <a:ext uri="{FF2B5EF4-FFF2-40B4-BE49-F238E27FC236}">
                  <a16:creationId xmlns:a16="http://schemas.microsoft.com/office/drawing/2014/main" id="{045F6048-E731-DA9F-F489-C150A9D66A42}"/>
                </a:ext>
              </a:extLst>
            </p:cNvPr>
            <p:cNvGrpSpPr/>
            <p:nvPr/>
          </p:nvGrpSpPr>
          <p:grpSpPr>
            <a:xfrm>
              <a:off x="10768672" y="6279841"/>
              <a:ext cx="348802" cy="189801"/>
              <a:chOff x="17759098" y="10356815"/>
              <a:chExt cx="575310" cy="313055"/>
            </a:xfrm>
          </p:grpSpPr>
          <p:sp>
            <p:nvSpPr>
              <p:cNvPr id="13" name="object 27">
                <a:extLst>
                  <a:ext uri="{FF2B5EF4-FFF2-40B4-BE49-F238E27FC236}">
                    <a16:creationId xmlns:a16="http://schemas.microsoft.com/office/drawing/2014/main" id="{9E4FF670-A026-D7E2-D38F-90E260409060}"/>
                  </a:ext>
                </a:extLst>
              </p:cNvPr>
              <p:cNvSpPr/>
              <p:nvPr/>
            </p:nvSpPr>
            <p:spPr>
              <a:xfrm>
                <a:off x="17759098" y="10361392"/>
                <a:ext cx="281940" cy="302895"/>
              </a:xfrm>
              <a:custGeom>
                <a:avLst/>
                <a:gdLst/>
                <a:ahLst/>
                <a:cxnLst/>
                <a:rect l="l" t="t" r="r" b="b"/>
                <a:pathLst>
                  <a:path w="281940" h="302895">
                    <a:moveTo>
                      <a:pt x="281478" y="0"/>
                    </a:moveTo>
                    <a:lnTo>
                      <a:pt x="202936" y="0"/>
                    </a:lnTo>
                    <a:lnTo>
                      <a:pt x="202936" y="174308"/>
                    </a:lnTo>
                    <a:lnTo>
                      <a:pt x="80364" y="0"/>
                    </a:lnTo>
                    <a:lnTo>
                      <a:pt x="0" y="0"/>
                    </a:lnTo>
                    <a:lnTo>
                      <a:pt x="0" y="302723"/>
                    </a:lnTo>
                    <a:lnTo>
                      <a:pt x="78049" y="302723"/>
                    </a:lnTo>
                    <a:lnTo>
                      <a:pt x="78049" y="119807"/>
                    </a:lnTo>
                    <a:lnTo>
                      <a:pt x="206129" y="302776"/>
                    </a:lnTo>
                    <a:lnTo>
                      <a:pt x="281478" y="302776"/>
                    </a:lnTo>
                    <a:lnTo>
                      <a:pt x="281478" y="0"/>
                    </a:lnTo>
                    <a:close/>
                  </a:path>
                </a:pathLst>
              </a:custGeom>
              <a:solidFill>
                <a:srgbClr val="FFFFFF"/>
              </a:solidFill>
            </p:spPr>
            <p:txBody>
              <a:bodyPr wrap="square" lIns="0" tIns="0" rIns="0" bIns="0" rtlCol="0"/>
              <a:lstStyle/>
              <a:p>
                <a:endParaRPr kern="0">
                  <a:solidFill>
                    <a:sysClr val="windowText" lastClr="000000"/>
                  </a:solidFill>
                </a:endParaRPr>
              </a:p>
            </p:txBody>
          </p:sp>
          <p:sp>
            <p:nvSpPr>
              <p:cNvPr id="14" name="object 28">
                <a:extLst>
                  <a:ext uri="{FF2B5EF4-FFF2-40B4-BE49-F238E27FC236}">
                    <a16:creationId xmlns:a16="http://schemas.microsoft.com/office/drawing/2014/main" id="{82109C33-F1E4-D2FD-8B2E-20BE6876B132}"/>
                  </a:ext>
                </a:extLst>
              </p:cNvPr>
              <p:cNvSpPr/>
              <p:nvPr/>
            </p:nvSpPr>
            <p:spPr>
              <a:xfrm>
                <a:off x="18073618" y="10356815"/>
                <a:ext cx="260985" cy="313055"/>
              </a:xfrm>
              <a:custGeom>
                <a:avLst/>
                <a:gdLst/>
                <a:ahLst/>
                <a:cxnLst/>
                <a:rect l="l" t="t" r="r" b="b"/>
                <a:pathLst>
                  <a:path w="260984" h="313054">
                    <a:moveTo>
                      <a:pt x="130289" y="0"/>
                    </a:moveTo>
                    <a:lnTo>
                      <a:pt x="78682" y="7671"/>
                    </a:lnTo>
                    <a:lnTo>
                      <a:pt x="40822" y="28360"/>
                    </a:lnTo>
                    <a:lnTo>
                      <a:pt x="17523" y="58574"/>
                    </a:lnTo>
                    <a:lnTo>
                      <a:pt x="9601" y="94824"/>
                    </a:lnTo>
                    <a:lnTo>
                      <a:pt x="21302" y="138425"/>
                    </a:lnTo>
                    <a:lnTo>
                      <a:pt x="50787" y="165184"/>
                    </a:lnTo>
                    <a:lnTo>
                      <a:pt x="89631" y="180370"/>
                    </a:lnTo>
                    <a:lnTo>
                      <a:pt x="129409" y="189250"/>
                    </a:lnTo>
                    <a:lnTo>
                      <a:pt x="151085" y="194533"/>
                    </a:lnTo>
                    <a:lnTo>
                      <a:pt x="167360" y="200784"/>
                    </a:lnTo>
                    <a:lnTo>
                      <a:pt x="177593" y="208990"/>
                    </a:lnTo>
                    <a:lnTo>
                      <a:pt x="181146" y="220139"/>
                    </a:lnTo>
                    <a:lnTo>
                      <a:pt x="178169" y="230305"/>
                    </a:lnTo>
                    <a:lnTo>
                      <a:pt x="169613" y="238518"/>
                    </a:lnTo>
                    <a:lnTo>
                      <a:pt x="156042" y="244011"/>
                    </a:lnTo>
                    <a:lnTo>
                      <a:pt x="138016" y="246013"/>
                    </a:lnTo>
                    <a:lnTo>
                      <a:pt x="108540" y="242837"/>
                    </a:lnTo>
                    <a:lnTo>
                      <a:pt x="82344" y="234216"/>
                    </a:lnTo>
                    <a:lnTo>
                      <a:pt x="59809" y="221510"/>
                    </a:lnTo>
                    <a:lnTo>
                      <a:pt x="41318" y="206025"/>
                    </a:lnTo>
                    <a:lnTo>
                      <a:pt x="0" y="264599"/>
                    </a:lnTo>
                    <a:lnTo>
                      <a:pt x="25223" y="284356"/>
                    </a:lnTo>
                    <a:lnTo>
                      <a:pt x="55622" y="299531"/>
                    </a:lnTo>
                    <a:lnTo>
                      <a:pt x="91803" y="309266"/>
                    </a:lnTo>
                    <a:lnTo>
                      <a:pt x="134372" y="312702"/>
                    </a:lnTo>
                    <a:lnTo>
                      <a:pt x="188371" y="305443"/>
                    </a:lnTo>
                    <a:lnTo>
                      <a:pt x="227945" y="284908"/>
                    </a:lnTo>
                    <a:lnTo>
                      <a:pt x="252285" y="252965"/>
                    </a:lnTo>
                    <a:lnTo>
                      <a:pt x="260578" y="211480"/>
                    </a:lnTo>
                    <a:lnTo>
                      <a:pt x="249016" y="169435"/>
                    </a:lnTo>
                    <a:lnTo>
                      <a:pt x="219837" y="142952"/>
                    </a:lnTo>
                    <a:lnTo>
                      <a:pt x="181299" y="127359"/>
                    </a:lnTo>
                    <a:lnTo>
                      <a:pt x="141660" y="117985"/>
                    </a:lnTo>
                    <a:lnTo>
                      <a:pt x="119330" y="113216"/>
                    </a:lnTo>
                    <a:lnTo>
                      <a:pt x="102966" y="107720"/>
                    </a:lnTo>
                    <a:lnTo>
                      <a:pt x="92902" y="100435"/>
                    </a:lnTo>
                    <a:lnTo>
                      <a:pt x="89473" y="90300"/>
                    </a:lnTo>
                    <a:lnTo>
                      <a:pt x="91313" y="81050"/>
                    </a:lnTo>
                    <a:lnTo>
                      <a:pt x="97367" y="73551"/>
                    </a:lnTo>
                    <a:lnTo>
                      <a:pt x="108437" y="68524"/>
                    </a:lnTo>
                    <a:lnTo>
                      <a:pt x="125326" y="66689"/>
                    </a:lnTo>
                    <a:lnTo>
                      <a:pt x="146369" y="68645"/>
                    </a:lnTo>
                    <a:lnTo>
                      <a:pt x="168489" y="74516"/>
                    </a:lnTo>
                    <a:lnTo>
                      <a:pt x="190362" y="84305"/>
                    </a:lnTo>
                    <a:lnTo>
                      <a:pt x="210663" y="98017"/>
                    </a:lnTo>
                    <a:lnTo>
                      <a:pt x="253301" y="42197"/>
                    </a:lnTo>
                    <a:lnTo>
                      <a:pt x="227314" y="23920"/>
                    </a:lnTo>
                    <a:lnTo>
                      <a:pt x="197916" y="10713"/>
                    </a:lnTo>
                    <a:lnTo>
                      <a:pt x="165458" y="2698"/>
                    </a:lnTo>
                    <a:lnTo>
                      <a:pt x="130289" y="0"/>
                    </a:lnTo>
                    <a:close/>
                  </a:path>
                </a:pathLst>
              </a:custGeom>
              <a:solidFill>
                <a:srgbClr val="00BFFF"/>
              </a:solidFill>
            </p:spPr>
            <p:txBody>
              <a:bodyPr wrap="square" lIns="0" tIns="0" rIns="0" bIns="0" rtlCol="0"/>
              <a:lstStyle/>
              <a:p>
                <a:endParaRPr kern="0">
                  <a:solidFill>
                    <a:sysClr val="windowText" lastClr="000000"/>
                  </a:solidFill>
                </a:endParaRPr>
              </a:p>
            </p:txBody>
          </p:sp>
        </p:grpSp>
        <p:sp>
          <p:nvSpPr>
            <p:cNvPr id="12" name="object 29">
              <a:extLst>
                <a:ext uri="{FF2B5EF4-FFF2-40B4-BE49-F238E27FC236}">
                  <a16:creationId xmlns:a16="http://schemas.microsoft.com/office/drawing/2014/main" id="{F043D988-F98C-F77C-9C45-6F32F542A69A}"/>
                </a:ext>
              </a:extLst>
            </p:cNvPr>
            <p:cNvSpPr/>
            <p:nvPr/>
          </p:nvSpPr>
          <p:spPr>
            <a:xfrm>
              <a:off x="11126915" y="6279572"/>
              <a:ext cx="336097" cy="190186"/>
            </a:xfrm>
            <a:custGeom>
              <a:avLst/>
              <a:gdLst/>
              <a:ahLst/>
              <a:cxnLst/>
              <a:rect l="l" t="t" r="r" b="b"/>
              <a:pathLst>
                <a:path w="554355" h="313690">
                  <a:moveTo>
                    <a:pt x="247383" y="4508"/>
                  </a:moveTo>
                  <a:lnTo>
                    <a:pt x="0" y="4508"/>
                  </a:lnTo>
                  <a:lnTo>
                    <a:pt x="0" y="73088"/>
                  </a:lnTo>
                  <a:lnTo>
                    <a:pt x="84886" y="73088"/>
                  </a:lnTo>
                  <a:lnTo>
                    <a:pt x="84886" y="308038"/>
                  </a:lnTo>
                  <a:lnTo>
                    <a:pt x="162928" y="308038"/>
                  </a:lnTo>
                  <a:lnTo>
                    <a:pt x="162928" y="73088"/>
                  </a:lnTo>
                  <a:lnTo>
                    <a:pt x="247383" y="73088"/>
                  </a:lnTo>
                  <a:lnTo>
                    <a:pt x="247383" y="4508"/>
                  </a:lnTo>
                  <a:close/>
                </a:path>
                <a:path w="554355" h="313690">
                  <a:moveTo>
                    <a:pt x="554139" y="81254"/>
                  </a:moveTo>
                  <a:lnTo>
                    <a:pt x="535305" y="51714"/>
                  </a:lnTo>
                  <a:lnTo>
                    <a:pt x="507720" y="25654"/>
                  </a:lnTo>
                  <a:lnTo>
                    <a:pt x="469734" y="7086"/>
                  </a:lnTo>
                  <a:lnTo>
                    <a:pt x="419760" y="0"/>
                  </a:lnTo>
                  <a:lnTo>
                    <a:pt x="368109" y="7315"/>
                  </a:lnTo>
                  <a:lnTo>
                    <a:pt x="323684" y="28206"/>
                  </a:lnTo>
                  <a:lnTo>
                    <a:pt x="288937" y="61087"/>
                  </a:lnTo>
                  <a:lnTo>
                    <a:pt x="266293" y="104419"/>
                  </a:lnTo>
                  <a:lnTo>
                    <a:pt x="258191" y="156603"/>
                  </a:lnTo>
                  <a:lnTo>
                    <a:pt x="266280" y="208622"/>
                  </a:lnTo>
                  <a:lnTo>
                    <a:pt x="288912" y="251929"/>
                  </a:lnTo>
                  <a:lnTo>
                    <a:pt x="323672" y="284886"/>
                  </a:lnTo>
                  <a:lnTo>
                    <a:pt x="368096" y="305854"/>
                  </a:lnTo>
                  <a:lnTo>
                    <a:pt x="419760" y="313207"/>
                  </a:lnTo>
                  <a:lnTo>
                    <a:pt x="469798" y="306006"/>
                  </a:lnTo>
                  <a:lnTo>
                    <a:pt x="507885" y="287223"/>
                  </a:lnTo>
                  <a:lnTo>
                    <a:pt x="535495" y="261124"/>
                  </a:lnTo>
                  <a:lnTo>
                    <a:pt x="554139" y="231952"/>
                  </a:lnTo>
                  <a:lnTo>
                    <a:pt x="486943" y="200190"/>
                  </a:lnTo>
                  <a:lnTo>
                    <a:pt x="476643" y="217208"/>
                  </a:lnTo>
                  <a:lnTo>
                    <a:pt x="461352" y="231216"/>
                  </a:lnTo>
                  <a:lnTo>
                    <a:pt x="442074" y="240703"/>
                  </a:lnTo>
                  <a:lnTo>
                    <a:pt x="419760" y="244208"/>
                  </a:lnTo>
                  <a:lnTo>
                    <a:pt x="387032" y="237477"/>
                  </a:lnTo>
                  <a:lnTo>
                    <a:pt x="361010" y="218960"/>
                  </a:lnTo>
                  <a:lnTo>
                    <a:pt x="343827" y="191160"/>
                  </a:lnTo>
                  <a:lnTo>
                    <a:pt x="337629" y="156603"/>
                  </a:lnTo>
                  <a:lnTo>
                    <a:pt x="343827" y="122047"/>
                  </a:lnTo>
                  <a:lnTo>
                    <a:pt x="360984" y="94246"/>
                  </a:lnTo>
                  <a:lnTo>
                    <a:pt x="387007" y="75730"/>
                  </a:lnTo>
                  <a:lnTo>
                    <a:pt x="419760" y="69011"/>
                  </a:lnTo>
                  <a:lnTo>
                    <a:pt x="442074" y="72504"/>
                  </a:lnTo>
                  <a:lnTo>
                    <a:pt x="461352" y="81991"/>
                  </a:lnTo>
                  <a:lnTo>
                    <a:pt x="476643" y="95999"/>
                  </a:lnTo>
                  <a:lnTo>
                    <a:pt x="486943" y="113030"/>
                  </a:lnTo>
                  <a:lnTo>
                    <a:pt x="554139" y="81254"/>
                  </a:lnTo>
                  <a:close/>
                </a:path>
              </a:pathLst>
            </a:custGeom>
            <a:solidFill>
              <a:srgbClr val="FFFFFF"/>
            </a:solidFill>
          </p:spPr>
          <p:txBody>
            <a:bodyPr wrap="square" lIns="0" tIns="0" rIns="0" bIns="0" rtlCol="0"/>
            <a:lstStyle/>
            <a:p>
              <a:endParaRPr kern="0">
                <a:solidFill>
                  <a:sysClr val="windowText" lastClr="000000"/>
                </a:solidFill>
              </a:endParaRPr>
            </a:p>
          </p:txBody>
        </p:sp>
      </p:grpSp>
    </p:spTree>
    <p:extLst>
      <p:ext uri="{BB962C8B-B14F-4D97-AF65-F5344CB8AC3E}">
        <p14:creationId xmlns:p14="http://schemas.microsoft.com/office/powerpoint/2010/main" val="91080625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_Section Heading 1">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8FAD1444-421E-F504-687D-41FCE008FC46}"/>
              </a:ext>
            </a:extLst>
          </p:cNvPr>
          <p:cNvPicPr>
            <a:picLocks noChangeAspect="1" noChangeArrowheads="1"/>
          </p:cNvPicPr>
          <p:nvPr userDrawn="1"/>
        </p:nvPicPr>
        <p:blipFill rotWithShape="1">
          <a:blip r:embed="rId2">
            <a:alphaModFix/>
            <a:extLst>
              <a:ext uri="{28A0092B-C50C-407E-A947-70E740481C1C}">
                <a14:useLocalDpi xmlns:a14="http://schemas.microsoft.com/office/drawing/2010/main" val="0"/>
              </a:ext>
            </a:extLst>
          </a:blip>
          <a:srcRect l="9347" t="16424" r="5832" b="13536"/>
          <a:stretch/>
        </p:blipFill>
        <p:spPr bwMode="auto">
          <a:xfrm>
            <a:off x="342834" y="339960"/>
            <a:ext cx="11503204" cy="6326353"/>
          </a:xfrm>
          <a:prstGeom prst="rect">
            <a:avLst/>
          </a:prstGeom>
          <a:noFill/>
          <a:extLst>
            <a:ext uri="{909E8E84-426E-40DD-AFC4-6F175D3DCCD1}">
              <a14:hiddenFill xmlns:a14="http://schemas.microsoft.com/office/drawing/2010/main">
                <a:solidFill>
                  <a:srgbClr val="FFFFFF"/>
                </a:solidFill>
              </a14:hiddenFill>
            </a:ext>
          </a:extLst>
        </p:spPr>
      </p:pic>
      <p:grpSp>
        <p:nvGrpSpPr>
          <p:cNvPr id="6" name="object 2">
            <a:extLst>
              <a:ext uri="{FF2B5EF4-FFF2-40B4-BE49-F238E27FC236}">
                <a16:creationId xmlns:a16="http://schemas.microsoft.com/office/drawing/2014/main" id="{E20A98F7-5068-D6D6-256F-AA04A0AAC475}"/>
              </a:ext>
            </a:extLst>
          </p:cNvPr>
          <p:cNvGrpSpPr/>
          <p:nvPr userDrawn="1"/>
        </p:nvGrpSpPr>
        <p:grpSpPr>
          <a:xfrm>
            <a:off x="1588" y="3609687"/>
            <a:ext cx="12189054" cy="3247402"/>
            <a:chOff x="0" y="5952698"/>
            <a:chExt cx="20104477" cy="5356225"/>
          </a:xfrm>
        </p:grpSpPr>
        <p:sp>
          <p:nvSpPr>
            <p:cNvPr id="8" name="Rectangle 2">
              <a:extLst>
                <a:ext uri="{FF2B5EF4-FFF2-40B4-BE49-F238E27FC236}">
                  <a16:creationId xmlns:a16="http://schemas.microsoft.com/office/drawing/2014/main" id="{653A196A-472F-C814-BF71-AAC27920E9F4}"/>
                </a:ext>
              </a:extLst>
            </p:cNvPr>
            <p:cNvSpPr/>
            <p:nvPr/>
          </p:nvSpPr>
          <p:spPr>
            <a:xfrm>
              <a:off x="9957812" y="10994430"/>
              <a:ext cx="10146665" cy="314325"/>
            </a:xfrm>
            <a:custGeom>
              <a:avLst/>
              <a:gdLst/>
              <a:ahLst/>
              <a:cxnLst/>
              <a:rect l="l" t="t" r="r" b="b"/>
              <a:pathLst>
                <a:path w="10146665" h="314325">
                  <a:moveTo>
                    <a:pt x="0" y="314126"/>
                  </a:moveTo>
                  <a:lnTo>
                    <a:pt x="10146287" y="314126"/>
                  </a:lnTo>
                  <a:lnTo>
                    <a:pt x="10146287" y="0"/>
                  </a:lnTo>
                  <a:lnTo>
                    <a:pt x="0" y="0"/>
                  </a:lnTo>
                  <a:lnTo>
                    <a:pt x="0" y="314126"/>
                  </a:lnTo>
                  <a:close/>
                </a:path>
              </a:pathLst>
            </a:custGeom>
            <a:solidFill>
              <a:schemeClr val="accent3"/>
            </a:solidFill>
          </p:spPr>
          <p:txBody>
            <a:bodyPr wrap="square" lIns="0" tIns="0" rIns="0" bIns="0" rtlCol="0"/>
            <a:lstStyle/>
            <a:p>
              <a:endParaRPr kern="0">
                <a:solidFill>
                  <a:sysClr val="windowText" lastClr="000000"/>
                </a:solidFill>
              </a:endParaRPr>
            </a:p>
          </p:txBody>
        </p:sp>
        <p:sp>
          <p:nvSpPr>
            <p:cNvPr id="9" name="Rectangle 1">
              <a:extLst>
                <a:ext uri="{FF2B5EF4-FFF2-40B4-BE49-F238E27FC236}">
                  <a16:creationId xmlns:a16="http://schemas.microsoft.com/office/drawing/2014/main" id="{9F40ABCB-1BAF-6940-C2BD-98252ACE6F39}"/>
                </a:ext>
              </a:extLst>
            </p:cNvPr>
            <p:cNvSpPr/>
            <p:nvPr/>
          </p:nvSpPr>
          <p:spPr>
            <a:xfrm>
              <a:off x="0" y="5952698"/>
              <a:ext cx="9958070" cy="5356225"/>
            </a:xfrm>
            <a:custGeom>
              <a:avLst/>
              <a:gdLst/>
              <a:ahLst/>
              <a:cxnLst/>
              <a:rect l="l" t="t" r="r" b="b"/>
              <a:pathLst>
                <a:path w="9958070" h="5356225">
                  <a:moveTo>
                    <a:pt x="9957811" y="5355857"/>
                  </a:moveTo>
                  <a:lnTo>
                    <a:pt x="9957811" y="0"/>
                  </a:lnTo>
                  <a:lnTo>
                    <a:pt x="0" y="0"/>
                  </a:lnTo>
                  <a:lnTo>
                    <a:pt x="0" y="5355857"/>
                  </a:lnTo>
                  <a:lnTo>
                    <a:pt x="9957811" y="5355857"/>
                  </a:lnTo>
                  <a:close/>
                </a:path>
              </a:pathLst>
            </a:custGeom>
            <a:solidFill>
              <a:schemeClr val="tx2">
                <a:alpha val="94999"/>
              </a:schemeClr>
            </a:solidFill>
          </p:spPr>
          <p:txBody>
            <a:bodyPr wrap="square" lIns="0" tIns="0" rIns="0" bIns="0" rtlCol="0"/>
            <a:lstStyle/>
            <a:p>
              <a:endParaRPr kern="0">
                <a:solidFill>
                  <a:sysClr val="windowText" lastClr="000000"/>
                </a:solidFill>
              </a:endParaRPr>
            </a:p>
          </p:txBody>
        </p:sp>
        <p:sp>
          <p:nvSpPr>
            <p:cNvPr id="10" name="object 6">
              <a:extLst>
                <a:ext uri="{FF2B5EF4-FFF2-40B4-BE49-F238E27FC236}">
                  <a16:creationId xmlns:a16="http://schemas.microsoft.com/office/drawing/2014/main" id="{996BBF15-E439-1625-5BB7-79ACA6CC314C}"/>
                </a:ext>
              </a:extLst>
            </p:cNvPr>
            <p:cNvSpPr/>
            <p:nvPr/>
          </p:nvSpPr>
          <p:spPr>
            <a:xfrm>
              <a:off x="0" y="5952698"/>
              <a:ext cx="1979295" cy="125730"/>
            </a:xfrm>
            <a:custGeom>
              <a:avLst/>
              <a:gdLst/>
              <a:ahLst/>
              <a:cxnLst/>
              <a:rect l="l" t="t" r="r" b="b"/>
              <a:pathLst>
                <a:path w="1979295" h="125729">
                  <a:moveTo>
                    <a:pt x="1978997" y="0"/>
                  </a:moveTo>
                  <a:lnTo>
                    <a:pt x="0" y="0"/>
                  </a:lnTo>
                  <a:lnTo>
                    <a:pt x="0" y="125650"/>
                  </a:lnTo>
                  <a:lnTo>
                    <a:pt x="1978997" y="125650"/>
                  </a:lnTo>
                  <a:lnTo>
                    <a:pt x="1978997" y="0"/>
                  </a:lnTo>
                  <a:close/>
                </a:path>
              </a:pathLst>
            </a:custGeom>
            <a:solidFill>
              <a:srgbClr val="FFD700"/>
            </a:solidFill>
            <a:ln>
              <a:solidFill>
                <a:schemeClr val="accent4"/>
              </a:solidFill>
            </a:ln>
          </p:spPr>
          <p:txBody>
            <a:bodyPr wrap="square" lIns="0" tIns="0" rIns="0" bIns="0" rtlCol="0"/>
            <a:lstStyle/>
            <a:p>
              <a:endParaRPr kern="0">
                <a:solidFill>
                  <a:sysClr val="windowText" lastClr="000000"/>
                </a:solidFill>
              </a:endParaRPr>
            </a:p>
          </p:txBody>
        </p:sp>
      </p:grpSp>
      <p:sp>
        <p:nvSpPr>
          <p:cNvPr id="16" name="object 12">
            <a:extLst>
              <a:ext uri="{FF2B5EF4-FFF2-40B4-BE49-F238E27FC236}">
                <a16:creationId xmlns:a16="http://schemas.microsoft.com/office/drawing/2014/main" id="{4B1C22C3-1441-8A00-4B6D-25C6C749A5EB}"/>
              </a:ext>
            </a:extLst>
          </p:cNvPr>
          <p:cNvSpPr txBox="1">
            <a:spLocks/>
          </p:cNvSpPr>
          <p:nvPr userDrawn="1"/>
        </p:nvSpPr>
        <p:spPr>
          <a:xfrm>
            <a:off x="7028811" y="3790905"/>
            <a:ext cx="146385" cy="204456"/>
          </a:xfrm>
          <a:prstGeom prst="rect">
            <a:avLst/>
          </a:prstGeom>
        </p:spPr>
        <p:txBody>
          <a:bodyPr vert="horz" wrap="square" lIns="0" tIns="22329" rIns="0" bIns="0" rtlCol="0" anchor="ctr">
            <a:spAutoFit/>
          </a:bodyPr>
          <a:lstStyle>
            <a:defPPr>
              <a:defRPr lang="en-US"/>
            </a:defPPr>
            <a:lvl1pPr marL="0" algn="ctr" defTabSz="914400" rtl="0" eaLnBrk="1" latinLnBrk="0" hangingPunct="1">
              <a:defRPr sz="1180" b="1" kern="1200">
                <a:solidFill>
                  <a:schemeClr val="tx1">
                    <a:tint val="82000"/>
                  </a:schemeClr>
                </a:solidFill>
                <a:latin typeface="Real Head Pro" panose="020B05040202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0070">
              <a:spcBef>
                <a:spcPts val="176"/>
              </a:spcBef>
            </a:pPr>
            <a:fld id="{81D60167-4931-47E6-BA6A-407CBD079E47}" type="slidenum">
              <a:rPr lang="en-US" kern="0" spc="-30" smtClean="0"/>
              <a:pPr marL="70070">
                <a:spcBef>
                  <a:spcPts val="176"/>
                </a:spcBef>
              </a:pPr>
              <a:t>‹#›</a:t>
            </a:fld>
            <a:endParaRPr lang="en-US" kern="0" spc="-30"/>
          </a:p>
        </p:txBody>
      </p:sp>
      <p:grpSp>
        <p:nvGrpSpPr>
          <p:cNvPr id="17" name="Group 16">
            <a:extLst>
              <a:ext uri="{FF2B5EF4-FFF2-40B4-BE49-F238E27FC236}">
                <a16:creationId xmlns:a16="http://schemas.microsoft.com/office/drawing/2014/main" id="{73290CE5-C884-7254-7D58-13D3AB8FB22B}"/>
              </a:ext>
            </a:extLst>
          </p:cNvPr>
          <p:cNvGrpSpPr/>
          <p:nvPr userDrawn="1"/>
        </p:nvGrpSpPr>
        <p:grpSpPr>
          <a:xfrm>
            <a:off x="10768672" y="6279572"/>
            <a:ext cx="694340" cy="190186"/>
            <a:chOff x="10768672" y="6279572"/>
            <a:chExt cx="694340" cy="190186"/>
          </a:xfrm>
        </p:grpSpPr>
        <p:grpSp>
          <p:nvGrpSpPr>
            <p:cNvPr id="18" name="object 26">
              <a:extLst>
                <a:ext uri="{FF2B5EF4-FFF2-40B4-BE49-F238E27FC236}">
                  <a16:creationId xmlns:a16="http://schemas.microsoft.com/office/drawing/2014/main" id="{BA7625BB-3FD0-781B-A19D-44D80F183F3C}"/>
                </a:ext>
              </a:extLst>
            </p:cNvPr>
            <p:cNvGrpSpPr/>
            <p:nvPr/>
          </p:nvGrpSpPr>
          <p:grpSpPr>
            <a:xfrm>
              <a:off x="10768672" y="6279841"/>
              <a:ext cx="348802" cy="189801"/>
              <a:chOff x="17759098" y="10356815"/>
              <a:chExt cx="575310" cy="313055"/>
            </a:xfrm>
          </p:grpSpPr>
          <p:sp>
            <p:nvSpPr>
              <p:cNvPr id="20" name="object 27">
                <a:extLst>
                  <a:ext uri="{FF2B5EF4-FFF2-40B4-BE49-F238E27FC236}">
                    <a16:creationId xmlns:a16="http://schemas.microsoft.com/office/drawing/2014/main" id="{23E17969-E517-C529-A29A-F24CFCE48023}"/>
                  </a:ext>
                </a:extLst>
              </p:cNvPr>
              <p:cNvSpPr/>
              <p:nvPr/>
            </p:nvSpPr>
            <p:spPr>
              <a:xfrm>
                <a:off x="17759098" y="10361392"/>
                <a:ext cx="281940" cy="302895"/>
              </a:xfrm>
              <a:custGeom>
                <a:avLst/>
                <a:gdLst/>
                <a:ahLst/>
                <a:cxnLst/>
                <a:rect l="l" t="t" r="r" b="b"/>
                <a:pathLst>
                  <a:path w="281940" h="302895">
                    <a:moveTo>
                      <a:pt x="281478" y="0"/>
                    </a:moveTo>
                    <a:lnTo>
                      <a:pt x="202936" y="0"/>
                    </a:lnTo>
                    <a:lnTo>
                      <a:pt x="202936" y="174308"/>
                    </a:lnTo>
                    <a:lnTo>
                      <a:pt x="80364" y="0"/>
                    </a:lnTo>
                    <a:lnTo>
                      <a:pt x="0" y="0"/>
                    </a:lnTo>
                    <a:lnTo>
                      <a:pt x="0" y="302723"/>
                    </a:lnTo>
                    <a:lnTo>
                      <a:pt x="78049" y="302723"/>
                    </a:lnTo>
                    <a:lnTo>
                      <a:pt x="78049" y="119807"/>
                    </a:lnTo>
                    <a:lnTo>
                      <a:pt x="206129" y="302776"/>
                    </a:lnTo>
                    <a:lnTo>
                      <a:pt x="281478" y="302776"/>
                    </a:lnTo>
                    <a:lnTo>
                      <a:pt x="281478" y="0"/>
                    </a:lnTo>
                    <a:close/>
                  </a:path>
                </a:pathLst>
              </a:custGeom>
              <a:solidFill>
                <a:srgbClr val="FFFFFF"/>
              </a:solidFill>
            </p:spPr>
            <p:txBody>
              <a:bodyPr wrap="square" lIns="0" tIns="0" rIns="0" bIns="0" rtlCol="0"/>
              <a:lstStyle/>
              <a:p>
                <a:endParaRPr kern="0">
                  <a:solidFill>
                    <a:sysClr val="windowText" lastClr="000000"/>
                  </a:solidFill>
                </a:endParaRPr>
              </a:p>
            </p:txBody>
          </p:sp>
          <p:sp>
            <p:nvSpPr>
              <p:cNvPr id="21" name="object 28">
                <a:extLst>
                  <a:ext uri="{FF2B5EF4-FFF2-40B4-BE49-F238E27FC236}">
                    <a16:creationId xmlns:a16="http://schemas.microsoft.com/office/drawing/2014/main" id="{633E22B1-7C4B-F806-5260-945B128FF0DB}"/>
                  </a:ext>
                </a:extLst>
              </p:cNvPr>
              <p:cNvSpPr/>
              <p:nvPr/>
            </p:nvSpPr>
            <p:spPr>
              <a:xfrm>
                <a:off x="18073618" y="10356815"/>
                <a:ext cx="260985" cy="313055"/>
              </a:xfrm>
              <a:custGeom>
                <a:avLst/>
                <a:gdLst/>
                <a:ahLst/>
                <a:cxnLst/>
                <a:rect l="l" t="t" r="r" b="b"/>
                <a:pathLst>
                  <a:path w="260984" h="313054">
                    <a:moveTo>
                      <a:pt x="130289" y="0"/>
                    </a:moveTo>
                    <a:lnTo>
                      <a:pt x="78682" y="7671"/>
                    </a:lnTo>
                    <a:lnTo>
                      <a:pt x="40822" y="28360"/>
                    </a:lnTo>
                    <a:lnTo>
                      <a:pt x="17523" y="58574"/>
                    </a:lnTo>
                    <a:lnTo>
                      <a:pt x="9601" y="94824"/>
                    </a:lnTo>
                    <a:lnTo>
                      <a:pt x="21302" y="138425"/>
                    </a:lnTo>
                    <a:lnTo>
                      <a:pt x="50787" y="165184"/>
                    </a:lnTo>
                    <a:lnTo>
                      <a:pt x="89631" y="180370"/>
                    </a:lnTo>
                    <a:lnTo>
                      <a:pt x="129409" y="189250"/>
                    </a:lnTo>
                    <a:lnTo>
                      <a:pt x="151085" y="194533"/>
                    </a:lnTo>
                    <a:lnTo>
                      <a:pt x="167360" y="200784"/>
                    </a:lnTo>
                    <a:lnTo>
                      <a:pt x="177593" y="208990"/>
                    </a:lnTo>
                    <a:lnTo>
                      <a:pt x="181146" y="220139"/>
                    </a:lnTo>
                    <a:lnTo>
                      <a:pt x="178169" y="230305"/>
                    </a:lnTo>
                    <a:lnTo>
                      <a:pt x="169613" y="238518"/>
                    </a:lnTo>
                    <a:lnTo>
                      <a:pt x="156042" y="244011"/>
                    </a:lnTo>
                    <a:lnTo>
                      <a:pt x="138016" y="246013"/>
                    </a:lnTo>
                    <a:lnTo>
                      <a:pt x="108540" y="242837"/>
                    </a:lnTo>
                    <a:lnTo>
                      <a:pt x="82344" y="234216"/>
                    </a:lnTo>
                    <a:lnTo>
                      <a:pt x="59809" y="221510"/>
                    </a:lnTo>
                    <a:lnTo>
                      <a:pt x="41318" y="206025"/>
                    </a:lnTo>
                    <a:lnTo>
                      <a:pt x="0" y="264599"/>
                    </a:lnTo>
                    <a:lnTo>
                      <a:pt x="25223" y="284356"/>
                    </a:lnTo>
                    <a:lnTo>
                      <a:pt x="55622" y="299531"/>
                    </a:lnTo>
                    <a:lnTo>
                      <a:pt x="91803" y="309266"/>
                    </a:lnTo>
                    <a:lnTo>
                      <a:pt x="134372" y="312702"/>
                    </a:lnTo>
                    <a:lnTo>
                      <a:pt x="188371" y="305443"/>
                    </a:lnTo>
                    <a:lnTo>
                      <a:pt x="227945" y="284908"/>
                    </a:lnTo>
                    <a:lnTo>
                      <a:pt x="252285" y="252965"/>
                    </a:lnTo>
                    <a:lnTo>
                      <a:pt x="260578" y="211480"/>
                    </a:lnTo>
                    <a:lnTo>
                      <a:pt x="249016" y="169435"/>
                    </a:lnTo>
                    <a:lnTo>
                      <a:pt x="219837" y="142952"/>
                    </a:lnTo>
                    <a:lnTo>
                      <a:pt x="181299" y="127359"/>
                    </a:lnTo>
                    <a:lnTo>
                      <a:pt x="141660" y="117985"/>
                    </a:lnTo>
                    <a:lnTo>
                      <a:pt x="119330" y="113216"/>
                    </a:lnTo>
                    <a:lnTo>
                      <a:pt x="102966" y="107720"/>
                    </a:lnTo>
                    <a:lnTo>
                      <a:pt x="92902" y="100435"/>
                    </a:lnTo>
                    <a:lnTo>
                      <a:pt x="89473" y="90300"/>
                    </a:lnTo>
                    <a:lnTo>
                      <a:pt x="91313" y="81050"/>
                    </a:lnTo>
                    <a:lnTo>
                      <a:pt x="97367" y="73551"/>
                    </a:lnTo>
                    <a:lnTo>
                      <a:pt x="108437" y="68524"/>
                    </a:lnTo>
                    <a:lnTo>
                      <a:pt x="125326" y="66689"/>
                    </a:lnTo>
                    <a:lnTo>
                      <a:pt x="146369" y="68645"/>
                    </a:lnTo>
                    <a:lnTo>
                      <a:pt x="168489" y="74516"/>
                    </a:lnTo>
                    <a:lnTo>
                      <a:pt x="190362" y="84305"/>
                    </a:lnTo>
                    <a:lnTo>
                      <a:pt x="210663" y="98017"/>
                    </a:lnTo>
                    <a:lnTo>
                      <a:pt x="253301" y="42197"/>
                    </a:lnTo>
                    <a:lnTo>
                      <a:pt x="227314" y="23920"/>
                    </a:lnTo>
                    <a:lnTo>
                      <a:pt x="197916" y="10713"/>
                    </a:lnTo>
                    <a:lnTo>
                      <a:pt x="165458" y="2698"/>
                    </a:lnTo>
                    <a:lnTo>
                      <a:pt x="130289" y="0"/>
                    </a:lnTo>
                    <a:close/>
                  </a:path>
                </a:pathLst>
              </a:custGeom>
              <a:solidFill>
                <a:srgbClr val="00BFFF"/>
              </a:solidFill>
            </p:spPr>
            <p:txBody>
              <a:bodyPr wrap="square" lIns="0" tIns="0" rIns="0" bIns="0" rtlCol="0"/>
              <a:lstStyle/>
              <a:p>
                <a:endParaRPr kern="0">
                  <a:solidFill>
                    <a:sysClr val="windowText" lastClr="000000"/>
                  </a:solidFill>
                </a:endParaRPr>
              </a:p>
            </p:txBody>
          </p:sp>
        </p:grpSp>
        <p:sp>
          <p:nvSpPr>
            <p:cNvPr id="19" name="object 29">
              <a:extLst>
                <a:ext uri="{FF2B5EF4-FFF2-40B4-BE49-F238E27FC236}">
                  <a16:creationId xmlns:a16="http://schemas.microsoft.com/office/drawing/2014/main" id="{1E1B9F0F-5BE2-6336-D2A0-3B9AABE4CF33}"/>
                </a:ext>
              </a:extLst>
            </p:cNvPr>
            <p:cNvSpPr/>
            <p:nvPr/>
          </p:nvSpPr>
          <p:spPr>
            <a:xfrm>
              <a:off x="11126915" y="6279572"/>
              <a:ext cx="336097" cy="190186"/>
            </a:xfrm>
            <a:custGeom>
              <a:avLst/>
              <a:gdLst/>
              <a:ahLst/>
              <a:cxnLst/>
              <a:rect l="l" t="t" r="r" b="b"/>
              <a:pathLst>
                <a:path w="554355" h="313690">
                  <a:moveTo>
                    <a:pt x="247383" y="4508"/>
                  </a:moveTo>
                  <a:lnTo>
                    <a:pt x="0" y="4508"/>
                  </a:lnTo>
                  <a:lnTo>
                    <a:pt x="0" y="73088"/>
                  </a:lnTo>
                  <a:lnTo>
                    <a:pt x="84886" y="73088"/>
                  </a:lnTo>
                  <a:lnTo>
                    <a:pt x="84886" y="308038"/>
                  </a:lnTo>
                  <a:lnTo>
                    <a:pt x="162928" y="308038"/>
                  </a:lnTo>
                  <a:lnTo>
                    <a:pt x="162928" y="73088"/>
                  </a:lnTo>
                  <a:lnTo>
                    <a:pt x="247383" y="73088"/>
                  </a:lnTo>
                  <a:lnTo>
                    <a:pt x="247383" y="4508"/>
                  </a:lnTo>
                  <a:close/>
                </a:path>
                <a:path w="554355" h="313690">
                  <a:moveTo>
                    <a:pt x="554139" y="81254"/>
                  </a:moveTo>
                  <a:lnTo>
                    <a:pt x="535305" y="51714"/>
                  </a:lnTo>
                  <a:lnTo>
                    <a:pt x="507720" y="25654"/>
                  </a:lnTo>
                  <a:lnTo>
                    <a:pt x="469734" y="7086"/>
                  </a:lnTo>
                  <a:lnTo>
                    <a:pt x="419760" y="0"/>
                  </a:lnTo>
                  <a:lnTo>
                    <a:pt x="368109" y="7315"/>
                  </a:lnTo>
                  <a:lnTo>
                    <a:pt x="323684" y="28206"/>
                  </a:lnTo>
                  <a:lnTo>
                    <a:pt x="288937" y="61087"/>
                  </a:lnTo>
                  <a:lnTo>
                    <a:pt x="266293" y="104419"/>
                  </a:lnTo>
                  <a:lnTo>
                    <a:pt x="258191" y="156603"/>
                  </a:lnTo>
                  <a:lnTo>
                    <a:pt x="266280" y="208622"/>
                  </a:lnTo>
                  <a:lnTo>
                    <a:pt x="288912" y="251929"/>
                  </a:lnTo>
                  <a:lnTo>
                    <a:pt x="323672" y="284886"/>
                  </a:lnTo>
                  <a:lnTo>
                    <a:pt x="368096" y="305854"/>
                  </a:lnTo>
                  <a:lnTo>
                    <a:pt x="419760" y="313207"/>
                  </a:lnTo>
                  <a:lnTo>
                    <a:pt x="469798" y="306006"/>
                  </a:lnTo>
                  <a:lnTo>
                    <a:pt x="507885" y="287223"/>
                  </a:lnTo>
                  <a:lnTo>
                    <a:pt x="535495" y="261124"/>
                  </a:lnTo>
                  <a:lnTo>
                    <a:pt x="554139" y="231952"/>
                  </a:lnTo>
                  <a:lnTo>
                    <a:pt x="486943" y="200190"/>
                  </a:lnTo>
                  <a:lnTo>
                    <a:pt x="476643" y="217208"/>
                  </a:lnTo>
                  <a:lnTo>
                    <a:pt x="461352" y="231216"/>
                  </a:lnTo>
                  <a:lnTo>
                    <a:pt x="442074" y="240703"/>
                  </a:lnTo>
                  <a:lnTo>
                    <a:pt x="419760" y="244208"/>
                  </a:lnTo>
                  <a:lnTo>
                    <a:pt x="387032" y="237477"/>
                  </a:lnTo>
                  <a:lnTo>
                    <a:pt x="361010" y="218960"/>
                  </a:lnTo>
                  <a:lnTo>
                    <a:pt x="343827" y="191160"/>
                  </a:lnTo>
                  <a:lnTo>
                    <a:pt x="337629" y="156603"/>
                  </a:lnTo>
                  <a:lnTo>
                    <a:pt x="343827" y="122047"/>
                  </a:lnTo>
                  <a:lnTo>
                    <a:pt x="360984" y="94246"/>
                  </a:lnTo>
                  <a:lnTo>
                    <a:pt x="387007" y="75730"/>
                  </a:lnTo>
                  <a:lnTo>
                    <a:pt x="419760" y="69011"/>
                  </a:lnTo>
                  <a:lnTo>
                    <a:pt x="442074" y="72504"/>
                  </a:lnTo>
                  <a:lnTo>
                    <a:pt x="461352" y="81991"/>
                  </a:lnTo>
                  <a:lnTo>
                    <a:pt x="476643" y="95999"/>
                  </a:lnTo>
                  <a:lnTo>
                    <a:pt x="486943" y="113030"/>
                  </a:lnTo>
                  <a:lnTo>
                    <a:pt x="554139" y="81254"/>
                  </a:lnTo>
                  <a:close/>
                </a:path>
              </a:pathLst>
            </a:custGeom>
            <a:solidFill>
              <a:srgbClr val="FFFFFF"/>
            </a:solidFill>
          </p:spPr>
          <p:txBody>
            <a:bodyPr wrap="square" lIns="0" tIns="0" rIns="0" bIns="0" rtlCol="0"/>
            <a:lstStyle/>
            <a:p>
              <a:endParaRPr kern="0">
                <a:solidFill>
                  <a:sysClr val="windowText" lastClr="000000"/>
                </a:solidFill>
              </a:endParaRPr>
            </a:p>
          </p:txBody>
        </p:sp>
      </p:grpSp>
      <p:sp>
        <p:nvSpPr>
          <p:cNvPr id="31" name="Slide Number Box">
            <a:extLst>
              <a:ext uri="{FF2B5EF4-FFF2-40B4-BE49-F238E27FC236}">
                <a16:creationId xmlns:a16="http://schemas.microsoft.com/office/drawing/2014/main" id="{C8C30A0E-C945-097E-4049-68ECCF8C1045}"/>
              </a:ext>
            </a:extLst>
          </p:cNvPr>
          <p:cNvSpPr txBox="1"/>
          <p:nvPr userDrawn="1"/>
        </p:nvSpPr>
        <p:spPr>
          <a:xfrm>
            <a:off x="11566535" y="6234575"/>
            <a:ext cx="279503" cy="283464"/>
          </a:xfrm>
          <a:prstGeom prst="rect">
            <a:avLst/>
          </a:prstGeom>
          <a:solidFill>
            <a:srgbClr val="FFD700"/>
          </a:solidFill>
        </p:spPr>
        <p:txBody>
          <a:bodyPr vert="horz" wrap="square" lIns="0" tIns="38884" rIns="0" bIns="0" rtlCol="0">
            <a:spAutoFit/>
          </a:bodyPr>
          <a:lstStyle/>
          <a:p>
            <a:pPr marL="55825" algn="ctr">
              <a:spcBef>
                <a:spcPts val="306"/>
              </a:spcBef>
            </a:pPr>
            <a:endParaRPr sz="1182">
              <a:latin typeface="Real Head Pro"/>
              <a:cs typeface="Real Head Pro"/>
            </a:endParaRPr>
          </a:p>
        </p:txBody>
      </p:sp>
      <p:sp>
        <p:nvSpPr>
          <p:cNvPr id="30" name="Slide Number Placeholder 29">
            <a:extLst>
              <a:ext uri="{FF2B5EF4-FFF2-40B4-BE49-F238E27FC236}">
                <a16:creationId xmlns:a16="http://schemas.microsoft.com/office/drawing/2014/main" id="{D8EDAEDC-029D-D60B-2150-4EAF1A427744}"/>
              </a:ext>
            </a:extLst>
          </p:cNvPr>
          <p:cNvSpPr>
            <a:spLocks noGrp="1"/>
          </p:cNvSpPr>
          <p:nvPr>
            <p:ph type="sldNum" sz="quarter" idx="12"/>
          </p:nvPr>
        </p:nvSpPr>
        <p:spPr/>
        <p:txBody>
          <a:bodyPr/>
          <a:lstStyle/>
          <a:p>
            <a:fld id="{FF7D9A68-EC15-4B1F-850C-8A6CCAFA90D8}" type="slidenum">
              <a:rPr lang="en-US" smtClean="0"/>
              <a:pPr/>
              <a:t>‹#›</a:t>
            </a:fld>
            <a:endParaRPr lang="en-US"/>
          </a:p>
        </p:txBody>
      </p:sp>
      <p:sp>
        <p:nvSpPr>
          <p:cNvPr id="33" name="Text Placeholder 32">
            <a:extLst>
              <a:ext uri="{FF2B5EF4-FFF2-40B4-BE49-F238E27FC236}">
                <a16:creationId xmlns:a16="http://schemas.microsoft.com/office/drawing/2014/main" id="{60F66712-A08A-F036-E80E-9ED43BDD061A}"/>
              </a:ext>
            </a:extLst>
          </p:cNvPr>
          <p:cNvSpPr>
            <a:spLocks noGrp="1"/>
          </p:cNvSpPr>
          <p:nvPr>
            <p:ph type="body" sz="quarter" idx="13" hasCustomPrompt="1"/>
          </p:nvPr>
        </p:nvSpPr>
        <p:spPr>
          <a:xfrm>
            <a:off x="763625" y="4247290"/>
            <a:ext cx="971550" cy="612775"/>
          </a:xfrm>
        </p:spPr>
        <p:txBody>
          <a:bodyPr anchor="b"/>
          <a:lstStyle>
            <a:lvl1pPr marL="0" indent="0">
              <a:buNone/>
              <a:defRPr sz="3150">
                <a:solidFill>
                  <a:schemeClr val="accent3"/>
                </a:solidFill>
                <a:latin typeface="+mj-lt"/>
              </a:defRPr>
            </a:lvl1pPr>
          </a:lstStyle>
          <a:p>
            <a:pPr lvl="0"/>
            <a:r>
              <a:rPr lang="en-US"/>
              <a:t>No.</a:t>
            </a:r>
          </a:p>
        </p:txBody>
      </p:sp>
      <p:sp>
        <p:nvSpPr>
          <p:cNvPr id="34" name="Text Placeholder 32">
            <a:extLst>
              <a:ext uri="{FF2B5EF4-FFF2-40B4-BE49-F238E27FC236}">
                <a16:creationId xmlns:a16="http://schemas.microsoft.com/office/drawing/2014/main" id="{21BA1502-68A3-8453-E0D9-1648C5E43C6E}"/>
              </a:ext>
            </a:extLst>
          </p:cNvPr>
          <p:cNvSpPr>
            <a:spLocks noGrp="1"/>
          </p:cNvSpPr>
          <p:nvPr>
            <p:ph type="body" sz="quarter" idx="14"/>
          </p:nvPr>
        </p:nvSpPr>
        <p:spPr>
          <a:xfrm>
            <a:off x="763624" y="5048473"/>
            <a:ext cx="5044343" cy="1186102"/>
          </a:xfrm>
        </p:spPr>
        <p:txBody>
          <a:bodyPr anchor="t"/>
          <a:lstStyle>
            <a:lvl1pPr marL="0" indent="0">
              <a:spcBef>
                <a:spcPts val="0"/>
              </a:spcBef>
              <a:buNone/>
              <a:defRPr sz="3150">
                <a:solidFill>
                  <a:schemeClr val="bg1"/>
                </a:solidFill>
                <a:latin typeface="+mj-lt"/>
              </a:defRPr>
            </a:lvl1pPr>
          </a:lstStyle>
          <a:p>
            <a:pPr lvl="0"/>
            <a:endParaRPr lang="en-US"/>
          </a:p>
        </p:txBody>
      </p:sp>
    </p:spTree>
    <p:extLst>
      <p:ext uri="{BB962C8B-B14F-4D97-AF65-F5344CB8AC3E}">
        <p14:creationId xmlns:p14="http://schemas.microsoft.com/office/powerpoint/2010/main" val="363900034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Title and Eyebrow with graphic ">
    <p:bg>
      <p:bgPr>
        <a:solidFill>
          <a:schemeClr val="accent5"/>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C16F05C-4BB9-7C82-C709-68EA2F74B897}"/>
              </a:ext>
            </a:extLst>
          </p:cNvPr>
          <p:cNvSpPr>
            <a:spLocks noGrp="1"/>
          </p:cNvSpPr>
          <p:nvPr>
            <p:ph type="dt" sz="half" idx="10"/>
          </p:nvPr>
        </p:nvSpPr>
        <p:spPr/>
        <p:txBody>
          <a:bodyPr/>
          <a:lstStyle/>
          <a:p>
            <a:fld id="{538BA0BE-9994-4243-B399-F1EA7335824C}" type="datetime1">
              <a:rPr lang="en-US" smtClean="0"/>
              <a:t>4/2/2025</a:t>
            </a:fld>
            <a:endParaRPr lang="en-US"/>
          </a:p>
        </p:txBody>
      </p:sp>
      <p:sp>
        <p:nvSpPr>
          <p:cNvPr id="4" name="Footer Placeholder 3">
            <a:extLst>
              <a:ext uri="{FF2B5EF4-FFF2-40B4-BE49-F238E27FC236}">
                <a16:creationId xmlns:a16="http://schemas.microsoft.com/office/drawing/2014/main" id="{B562C211-B566-11DA-A38D-90605158656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7048A19-F166-EDA1-0B00-A974B424E906}"/>
              </a:ext>
            </a:extLst>
          </p:cNvPr>
          <p:cNvSpPr>
            <a:spLocks noGrp="1"/>
          </p:cNvSpPr>
          <p:nvPr>
            <p:ph type="sldNum" sz="quarter" idx="12"/>
          </p:nvPr>
        </p:nvSpPr>
        <p:spPr/>
        <p:txBody>
          <a:bodyPr/>
          <a:lstStyle/>
          <a:p>
            <a:fld id="{FF7D9A68-EC15-4B1F-850C-8A6CCAFA90D8}" type="slidenum">
              <a:rPr lang="en-US" smtClean="0"/>
              <a:t>‹#›</a:t>
            </a:fld>
            <a:endParaRPr lang="en-US"/>
          </a:p>
        </p:txBody>
      </p:sp>
      <p:sp>
        <p:nvSpPr>
          <p:cNvPr id="6" name="object 24">
            <a:extLst>
              <a:ext uri="{FF2B5EF4-FFF2-40B4-BE49-F238E27FC236}">
                <a16:creationId xmlns:a16="http://schemas.microsoft.com/office/drawing/2014/main" id="{E5F920B2-E5F2-B5E1-9A23-2C5EE88B6F55}"/>
              </a:ext>
            </a:extLst>
          </p:cNvPr>
          <p:cNvSpPr/>
          <p:nvPr userDrawn="1"/>
        </p:nvSpPr>
        <p:spPr>
          <a:xfrm>
            <a:off x="1588" y="343463"/>
            <a:ext cx="152457" cy="6170641"/>
          </a:xfrm>
          <a:custGeom>
            <a:avLst/>
            <a:gdLst/>
            <a:ahLst/>
            <a:cxnLst/>
            <a:rect l="l" t="t" r="r" b="b"/>
            <a:pathLst>
              <a:path w="251460" h="10177780">
                <a:moveTo>
                  <a:pt x="251301" y="0"/>
                </a:moveTo>
                <a:lnTo>
                  <a:pt x="0" y="0"/>
                </a:lnTo>
                <a:lnTo>
                  <a:pt x="0" y="10177700"/>
                </a:lnTo>
                <a:lnTo>
                  <a:pt x="251301" y="10177700"/>
                </a:lnTo>
                <a:lnTo>
                  <a:pt x="251301" y="0"/>
                </a:lnTo>
                <a:close/>
              </a:path>
            </a:pathLst>
          </a:custGeom>
          <a:solidFill>
            <a:schemeClr val="tx2"/>
          </a:solidFill>
        </p:spPr>
        <p:txBody>
          <a:bodyPr wrap="square" lIns="0" tIns="0" rIns="0" bIns="0" rtlCol="0"/>
          <a:lstStyle/>
          <a:p>
            <a:endParaRPr kern="0">
              <a:solidFill>
                <a:sysClr val="windowText" lastClr="000000"/>
              </a:solidFill>
            </a:endParaRPr>
          </a:p>
        </p:txBody>
      </p:sp>
      <p:sp>
        <p:nvSpPr>
          <p:cNvPr id="7" name="Text Placeholder 32">
            <a:extLst>
              <a:ext uri="{FF2B5EF4-FFF2-40B4-BE49-F238E27FC236}">
                <a16:creationId xmlns:a16="http://schemas.microsoft.com/office/drawing/2014/main" id="{76176889-EC90-7074-D8BD-FB8FBFBCB343}"/>
              </a:ext>
            </a:extLst>
          </p:cNvPr>
          <p:cNvSpPr>
            <a:spLocks noGrp="1"/>
          </p:cNvSpPr>
          <p:nvPr>
            <p:ph type="body" sz="quarter" idx="14" hasCustomPrompt="1"/>
          </p:nvPr>
        </p:nvSpPr>
        <p:spPr>
          <a:xfrm>
            <a:off x="763623" y="789856"/>
            <a:ext cx="10972800" cy="457200"/>
          </a:xfrm>
        </p:spPr>
        <p:txBody>
          <a:bodyPr anchor="b"/>
          <a:lstStyle>
            <a:lvl1pPr marL="0" indent="0">
              <a:spcBef>
                <a:spcPts val="0"/>
              </a:spcBef>
              <a:buNone/>
              <a:defRPr sz="3150">
                <a:solidFill>
                  <a:schemeClr val="tx2"/>
                </a:solidFill>
                <a:latin typeface="+mj-lt"/>
              </a:defRPr>
            </a:lvl1pPr>
          </a:lstStyle>
          <a:p>
            <a:pPr lvl="0"/>
            <a:r>
              <a:rPr lang="en-US"/>
              <a:t>Heading</a:t>
            </a:r>
          </a:p>
        </p:txBody>
      </p:sp>
      <p:sp>
        <p:nvSpPr>
          <p:cNvPr id="2" name="Text Placeholder 9">
            <a:extLst>
              <a:ext uri="{FF2B5EF4-FFF2-40B4-BE49-F238E27FC236}">
                <a16:creationId xmlns:a16="http://schemas.microsoft.com/office/drawing/2014/main" id="{892A23AA-62D6-9D6B-93E6-E42206E7374A}"/>
              </a:ext>
            </a:extLst>
          </p:cNvPr>
          <p:cNvSpPr>
            <a:spLocks noGrp="1"/>
          </p:cNvSpPr>
          <p:nvPr>
            <p:ph type="body" sz="quarter" idx="15"/>
          </p:nvPr>
        </p:nvSpPr>
        <p:spPr>
          <a:xfrm>
            <a:off x="763623" y="332656"/>
            <a:ext cx="10972800" cy="457200"/>
          </a:xfrm>
        </p:spPr>
        <p:txBody>
          <a:bodyPr/>
          <a:lstStyle>
            <a:lvl1pPr marL="0" indent="0">
              <a:buNone/>
              <a:defRPr sz="2400" b="0">
                <a:solidFill>
                  <a:schemeClr val="accent3"/>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8" name="Rectangle 7">
            <a:extLst>
              <a:ext uri="{FF2B5EF4-FFF2-40B4-BE49-F238E27FC236}">
                <a16:creationId xmlns:a16="http://schemas.microsoft.com/office/drawing/2014/main" id="{F808C503-0B38-295D-8F52-816BBE440CCE}"/>
              </a:ext>
            </a:extLst>
          </p:cNvPr>
          <p:cNvSpPr/>
          <p:nvPr userDrawn="1"/>
        </p:nvSpPr>
        <p:spPr>
          <a:xfrm>
            <a:off x="9879496" y="6234576"/>
            <a:ext cx="1623391" cy="290768"/>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Graphic 1">
            <a:extLst>
              <a:ext uri="{FF2B5EF4-FFF2-40B4-BE49-F238E27FC236}">
                <a16:creationId xmlns:a16="http://schemas.microsoft.com/office/drawing/2014/main" id="{01676353-B607-3069-3BDA-421204369E5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580785" y="6233410"/>
            <a:ext cx="2848203" cy="320040"/>
          </a:xfrm>
          <a:prstGeom prst="rect">
            <a:avLst/>
          </a:prstGeom>
        </p:spPr>
      </p:pic>
    </p:spTree>
    <p:extLst>
      <p:ext uri="{BB962C8B-B14F-4D97-AF65-F5344CB8AC3E}">
        <p14:creationId xmlns:p14="http://schemas.microsoft.com/office/powerpoint/2010/main" val="375522397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2_Title and Eyebrow with graphic Dark">
    <p:bg>
      <p:bgPr>
        <a:solidFill>
          <a:schemeClr val="tx2"/>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C16F05C-4BB9-7C82-C709-68EA2F74B897}"/>
              </a:ext>
            </a:extLst>
          </p:cNvPr>
          <p:cNvSpPr>
            <a:spLocks noGrp="1"/>
          </p:cNvSpPr>
          <p:nvPr>
            <p:ph type="dt" sz="half" idx="10"/>
          </p:nvPr>
        </p:nvSpPr>
        <p:spPr/>
        <p:txBody>
          <a:bodyPr/>
          <a:lstStyle/>
          <a:p>
            <a:fld id="{538BA0BE-9994-4243-B399-F1EA7335824C}" type="datetime1">
              <a:rPr lang="en-US" smtClean="0"/>
              <a:t>4/2/2025</a:t>
            </a:fld>
            <a:endParaRPr lang="en-US"/>
          </a:p>
        </p:txBody>
      </p:sp>
      <p:sp>
        <p:nvSpPr>
          <p:cNvPr id="4" name="Footer Placeholder 3">
            <a:extLst>
              <a:ext uri="{FF2B5EF4-FFF2-40B4-BE49-F238E27FC236}">
                <a16:creationId xmlns:a16="http://schemas.microsoft.com/office/drawing/2014/main" id="{B562C211-B566-11DA-A38D-906051586563}"/>
              </a:ext>
            </a:extLst>
          </p:cNvPr>
          <p:cNvSpPr>
            <a:spLocks noGrp="1"/>
          </p:cNvSpPr>
          <p:nvPr>
            <p:ph type="ftr" sz="quarter" idx="11"/>
          </p:nvPr>
        </p:nvSpPr>
        <p:spPr/>
        <p:txBody>
          <a:bodyPr/>
          <a:lstStyle/>
          <a:p>
            <a:endParaRPr lang="en-US"/>
          </a:p>
        </p:txBody>
      </p:sp>
      <p:sp>
        <p:nvSpPr>
          <p:cNvPr id="6" name="object 24">
            <a:extLst>
              <a:ext uri="{FF2B5EF4-FFF2-40B4-BE49-F238E27FC236}">
                <a16:creationId xmlns:a16="http://schemas.microsoft.com/office/drawing/2014/main" id="{E5F920B2-E5F2-B5E1-9A23-2C5EE88B6F55}"/>
              </a:ext>
            </a:extLst>
          </p:cNvPr>
          <p:cNvSpPr/>
          <p:nvPr userDrawn="1"/>
        </p:nvSpPr>
        <p:spPr>
          <a:xfrm>
            <a:off x="1588" y="343463"/>
            <a:ext cx="152457" cy="6170641"/>
          </a:xfrm>
          <a:custGeom>
            <a:avLst/>
            <a:gdLst/>
            <a:ahLst/>
            <a:cxnLst/>
            <a:rect l="l" t="t" r="r" b="b"/>
            <a:pathLst>
              <a:path w="251460" h="10177780">
                <a:moveTo>
                  <a:pt x="251301" y="0"/>
                </a:moveTo>
                <a:lnTo>
                  <a:pt x="0" y="0"/>
                </a:lnTo>
                <a:lnTo>
                  <a:pt x="0" y="10177700"/>
                </a:lnTo>
                <a:lnTo>
                  <a:pt x="251301" y="10177700"/>
                </a:lnTo>
                <a:lnTo>
                  <a:pt x="251301" y="0"/>
                </a:lnTo>
                <a:close/>
              </a:path>
            </a:pathLst>
          </a:custGeom>
          <a:solidFill>
            <a:schemeClr val="accent4"/>
          </a:solidFill>
        </p:spPr>
        <p:txBody>
          <a:bodyPr wrap="square" lIns="0" tIns="0" rIns="0" bIns="0" rtlCol="0"/>
          <a:lstStyle/>
          <a:p>
            <a:endParaRPr kern="0">
              <a:solidFill>
                <a:sysClr val="windowText" lastClr="000000"/>
              </a:solidFill>
            </a:endParaRPr>
          </a:p>
        </p:txBody>
      </p:sp>
      <p:sp>
        <p:nvSpPr>
          <p:cNvPr id="7" name="Text Placeholder 32">
            <a:extLst>
              <a:ext uri="{FF2B5EF4-FFF2-40B4-BE49-F238E27FC236}">
                <a16:creationId xmlns:a16="http://schemas.microsoft.com/office/drawing/2014/main" id="{76176889-EC90-7074-D8BD-FB8FBFBCB343}"/>
              </a:ext>
            </a:extLst>
          </p:cNvPr>
          <p:cNvSpPr>
            <a:spLocks noGrp="1"/>
          </p:cNvSpPr>
          <p:nvPr>
            <p:ph type="body" sz="quarter" idx="14" hasCustomPrompt="1"/>
          </p:nvPr>
        </p:nvSpPr>
        <p:spPr>
          <a:xfrm>
            <a:off x="763623" y="789856"/>
            <a:ext cx="10972800" cy="457200"/>
          </a:xfrm>
        </p:spPr>
        <p:txBody>
          <a:bodyPr anchor="b"/>
          <a:lstStyle>
            <a:lvl1pPr marL="0" indent="0">
              <a:spcBef>
                <a:spcPts val="0"/>
              </a:spcBef>
              <a:buNone/>
              <a:defRPr sz="3150">
                <a:solidFill>
                  <a:schemeClr val="bg2"/>
                </a:solidFill>
                <a:latin typeface="+mj-lt"/>
              </a:defRPr>
            </a:lvl1pPr>
          </a:lstStyle>
          <a:p>
            <a:pPr lvl="0"/>
            <a:r>
              <a:rPr lang="en-US"/>
              <a:t>Heading</a:t>
            </a:r>
          </a:p>
        </p:txBody>
      </p:sp>
      <p:sp>
        <p:nvSpPr>
          <p:cNvPr id="2" name="Text Placeholder 9">
            <a:extLst>
              <a:ext uri="{FF2B5EF4-FFF2-40B4-BE49-F238E27FC236}">
                <a16:creationId xmlns:a16="http://schemas.microsoft.com/office/drawing/2014/main" id="{892A23AA-62D6-9D6B-93E6-E42206E7374A}"/>
              </a:ext>
            </a:extLst>
          </p:cNvPr>
          <p:cNvSpPr>
            <a:spLocks noGrp="1"/>
          </p:cNvSpPr>
          <p:nvPr>
            <p:ph type="body" sz="quarter" idx="15"/>
          </p:nvPr>
        </p:nvSpPr>
        <p:spPr>
          <a:xfrm>
            <a:off x="763623" y="332656"/>
            <a:ext cx="10972800" cy="457200"/>
          </a:xfrm>
        </p:spPr>
        <p:txBody>
          <a:bodyPr/>
          <a:lstStyle>
            <a:lvl1pPr marL="0" indent="0">
              <a:buNone/>
              <a:defRPr sz="2400" b="0">
                <a:solidFill>
                  <a:schemeClr val="accent3"/>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8" name="Slide Number Box">
            <a:extLst>
              <a:ext uri="{FF2B5EF4-FFF2-40B4-BE49-F238E27FC236}">
                <a16:creationId xmlns:a16="http://schemas.microsoft.com/office/drawing/2014/main" id="{3DEAF9C8-A147-CF7A-E52D-4E24427CD53E}"/>
              </a:ext>
            </a:extLst>
          </p:cNvPr>
          <p:cNvSpPr txBox="1"/>
          <p:nvPr userDrawn="1"/>
        </p:nvSpPr>
        <p:spPr>
          <a:xfrm>
            <a:off x="11566535" y="6234575"/>
            <a:ext cx="279503" cy="283464"/>
          </a:xfrm>
          <a:prstGeom prst="rect">
            <a:avLst/>
          </a:prstGeom>
          <a:solidFill>
            <a:srgbClr val="FFD700"/>
          </a:solidFill>
        </p:spPr>
        <p:txBody>
          <a:bodyPr vert="horz" wrap="square" lIns="0" tIns="38884" rIns="0" bIns="0" rtlCol="0">
            <a:spAutoFit/>
          </a:bodyPr>
          <a:lstStyle/>
          <a:p>
            <a:pPr marL="55825" algn="ctr">
              <a:spcBef>
                <a:spcPts val="306"/>
              </a:spcBef>
            </a:pPr>
            <a:endParaRPr sz="1182">
              <a:latin typeface="Real Head Pro"/>
              <a:cs typeface="Real Head Pro"/>
            </a:endParaRPr>
          </a:p>
        </p:txBody>
      </p:sp>
      <p:sp>
        <p:nvSpPr>
          <p:cNvPr id="9" name="Slide Number Placeholder 4">
            <a:extLst>
              <a:ext uri="{FF2B5EF4-FFF2-40B4-BE49-F238E27FC236}">
                <a16:creationId xmlns:a16="http://schemas.microsoft.com/office/drawing/2014/main" id="{99D35B03-F698-8885-EB71-3D77B4BA4EE2}"/>
              </a:ext>
            </a:extLst>
          </p:cNvPr>
          <p:cNvSpPr>
            <a:spLocks noGrp="1"/>
          </p:cNvSpPr>
          <p:nvPr>
            <p:ph type="sldNum" sz="quarter" idx="12"/>
          </p:nvPr>
        </p:nvSpPr>
        <p:spPr>
          <a:xfrm>
            <a:off x="11562574" y="6234576"/>
            <a:ext cx="283464" cy="283464"/>
          </a:xfrm>
        </p:spPr>
        <p:txBody>
          <a:bodyPr/>
          <a:lstStyle/>
          <a:p>
            <a:fld id="{FF7D9A68-EC15-4B1F-850C-8A6CCAFA90D8}" type="slidenum">
              <a:rPr lang="en-US" smtClean="0"/>
              <a:pPr/>
              <a:t>‹#›</a:t>
            </a:fld>
            <a:endParaRPr lang="en-US"/>
          </a:p>
        </p:txBody>
      </p:sp>
      <p:grpSp>
        <p:nvGrpSpPr>
          <p:cNvPr id="10" name="Group 9">
            <a:extLst>
              <a:ext uri="{FF2B5EF4-FFF2-40B4-BE49-F238E27FC236}">
                <a16:creationId xmlns:a16="http://schemas.microsoft.com/office/drawing/2014/main" id="{9CC642A7-0CAB-52CA-FCE0-BDB19114866A}"/>
              </a:ext>
            </a:extLst>
          </p:cNvPr>
          <p:cNvGrpSpPr/>
          <p:nvPr userDrawn="1"/>
        </p:nvGrpSpPr>
        <p:grpSpPr>
          <a:xfrm>
            <a:off x="10768672" y="6279572"/>
            <a:ext cx="694340" cy="190186"/>
            <a:chOff x="10768672" y="6279572"/>
            <a:chExt cx="694340" cy="190186"/>
          </a:xfrm>
        </p:grpSpPr>
        <p:grpSp>
          <p:nvGrpSpPr>
            <p:cNvPr id="11" name="object 26">
              <a:extLst>
                <a:ext uri="{FF2B5EF4-FFF2-40B4-BE49-F238E27FC236}">
                  <a16:creationId xmlns:a16="http://schemas.microsoft.com/office/drawing/2014/main" id="{FE0B768C-2E3F-F3E7-B294-CC9AA38D28C4}"/>
                </a:ext>
              </a:extLst>
            </p:cNvPr>
            <p:cNvGrpSpPr/>
            <p:nvPr/>
          </p:nvGrpSpPr>
          <p:grpSpPr>
            <a:xfrm>
              <a:off x="10768672" y="6279841"/>
              <a:ext cx="348802" cy="189801"/>
              <a:chOff x="17759098" y="10356815"/>
              <a:chExt cx="575310" cy="313055"/>
            </a:xfrm>
          </p:grpSpPr>
          <p:sp>
            <p:nvSpPr>
              <p:cNvPr id="13" name="object 27">
                <a:extLst>
                  <a:ext uri="{FF2B5EF4-FFF2-40B4-BE49-F238E27FC236}">
                    <a16:creationId xmlns:a16="http://schemas.microsoft.com/office/drawing/2014/main" id="{3A5FC079-708F-A710-D4C7-4E87E8CEB9A6}"/>
                  </a:ext>
                </a:extLst>
              </p:cNvPr>
              <p:cNvSpPr/>
              <p:nvPr/>
            </p:nvSpPr>
            <p:spPr>
              <a:xfrm>
                <a:off x="17759098" y="10361392"/>
                <a:ext cx="281940" cy="302895"/>
              </a:xfrm>
              <a:custGeom>
                <a:avLst/>
                <a:gdLst/>
                <a:ahLst/>
                <a:cxnLst/>
                <a:rect l="l" t="t" r="r" b="b"/>
                <a:pathLst>
                  <a:path w="281940" h="302895">
                    <a:moveTo>
                      <a:pt x="281478" y="0"/>
                    </a:moveTo>
                    <a:lnTo>
                      <a:pt x="202936" y="0"/>
                    </a:lnTo>
                    <a:lnTo>
                      <a:pt x="202936" y="174308"/>
                    </a:lnTo>
                    <a:lnTo>
                      <a:pt x="80364" y="0"/>
                    </a:lnTo>
                    <a:lnTo>
                      <a:pt x="0" y="0"/>
                    </a:lnTo>
                    <a:lnTo>
                      <a:pt x="0" y="302723"/>
                    </a:lnTo>
                    <a:lnTo>
                      <a:pt x="78049" y="302723"/>
                    </a:lnTo>
                    <a:lnTo>
                      <a:pt x="78049" y="119807"/>
                    </a:lnTo>
                    <a:lnTo>
                      <a:pt x="206129" y="302776"/>
                    </a:lnTo>
                    <a:lnTo>
                      <a:pt x="281478" y="302776"/>
                    </a:lnTo>
                    <a:lnTo>
                      <a:pt x="281478" y="0"/>
                    </a:lnTo>
                    <a:close/>
                  </a:path>
                </a:pathLst>
              </a:custGeom>
              <a:solidFill>
                <a:srgbClr val="FFFFFF"/>
              </a:solidFill>
            </p:spPr>
            <p:txBody>
              <a:bodyPr wrap="square" lIns="0" tIns="0" rIns="0" bIns="0" rtlCol="0"/>
              <a:lstStyle/>
              <a:p>
                <a:endParaRPr kern="0">
                  <a:solidFill>
                    <a:sysClr val="windowText" lastClr="000000"/>
                  </a:solidFill>
                </a:endParaRPr>
              </a:p>
            </p:txBody>
          </p:sp>
          <p:sp>
            <p:nvSpPr>
              <p:cNvPr id="14" name="object 28">
                <a:extLst>
                  <a:ext uri="{FF2B5EF4-FFF2-40B4-BE49-F238E27FC236}">
                    <a16:creationId xmlns:a16="http://schemas.microsoft.com/office/drawing/2014/main" id="{21E37276-31AC-7101-7E7A-97523EE41B76}"/>
                  </a:ext>
                </a:extLst>
              </p:cNvPr>
              <p:cNvSpPr/>
              <p:nvPr/>
            </p:nvSpPr>
            <p:spPr>
              <a:xfrm>
                <a:off x="18073618" y="10356815"/>
                <a:ext cx="260985" cy="313055"/>
              </a:xfrm>
              <a:custGeom>
                <a:avLst/>
                <a:gdLst/>
                <a:ahLst/>
                <a:cxnLst/>
                <a:rect l="l" t="t" r="r" b="b"/>
                <a:pathLst>
                  <a:path w="260984" h="313054">
                    <a:moveTo>
                      <a:pt x="130289" y="0"/>
                    </a:moveTo>
                    <a:lnTo>
                      <a:pt x="78682" y="7671"/>
                    </a:lnTo>
                    <a:lnTo>
                      <a:pt x="40822" y="28360"/>
                    </a:lnTo>
                    <a:lnTo>
                      <a:pt x="17523" y="58574"/>
                    </a:lnTo>
                    <a:lnTo>
                      <a:pt x="9601" y="94824"/>
                    </a:lnTo>
                    <a:lnTo>
                      <a:pt x="21302" y="138425"/>
                    </a:lnTo>
                    <a:lnTo>
                      <a:pt x="50787" y="165184"/>
                    </a:lnTo>
                    <a:lnTo>
                      <a:pt x="89631" y="180370"/>
                    </a:lnTo>
                    <a:lnTo>
                      <a:pt x="129409" y="189250"/>
                    </a:lnTo>
                    <a:lnTo>
                      <a:pt x="151085" y="194533"/>
                    </a:lnTo>
                    <a:lnTo>
                      <a:pt x="167360" y="200784"/>
                    </a:lnTo>
                    <a:lnTo>
                      <a:pt x="177593" y="208990"/>
                    </a:lnTo>
                    <a:lnTo>
                      <a:pt x="181146" y="220139"/>
                    </a:lnTo>
                    <a:lnTo>
                      <a:pt x="178169" y="230305"/>
                    </a:lnTo>
                    <a:lnTo>
                      <a:pt x="169613" y="238518"/>
                    </a:lnTo>
                    <a:lnTo>
                      <a:pt x="156042" y="244011"/>
                    </a:lnTo>
                    <a:lnTo>
                      <a:pt x="138016" y="246013"/>
                    </a:lnTo>
                    <a:lnTo>
                      <a:pt x="108540" y="242837"/>
                    </a:lnTo>
                    <a:lnTo>
                      <a:pt x="82344" y="234216"/>
                    </a:lnTo>
                    <a:lnTo>
                      <a:pt x="59809" y="221510"/>
                    </a:lnTo>
                    <a:lnTo>
                      <a:pt x="41318" y="206025"/>
                    </a:lnTo>
                    <a:lnTo>
                      <a:pt x="0" y="264599"/>
                    </a:lnTo>
                    <a:lnTo>
                      <a:pt x="25223" y="284356"/>
                    </a:lnTo>
                    <a:lnTo>
                      <a:pt x="55622" y="299531"/>
                    </a:lnTo>
                    <a:lnTo>
                      <a:pt x="91803" y="309266"/>
                    </a:lnTo>
                    <a:lnTo>
                      <a:pt x="134372" y="312702"/>
                    </a:lnTo>
                    <a:lnTo>
                      <a:pt x="188371" y="305443"/>
                    </a:lnTo>
                    <a:lnTo>
                      <a:pt x="227945" y="284908"/>
                    </a:lnTo>
                    <a:lnTo>
                      <a:pt x="252285" y="252965"/>
                    </a:lnTo>
                    <a:lnTo>
                      <a:pt x="260578" y="211480"/>
                    </a:lnTo>
                    <a:lnTo>
                      <a:pt x="249016" y="169435"/>
                    </a:lnTo>
                    <a:lnTo>
                      <a:pt x="219837" y="142952"/>
                    </a:lnTo>
                    <a:lnTo>
                      <a:pt x="181299" y="127359"/>
                    </a:lnTo>
                    <a:lnTo>
                      <a:pt x="141660" y="117985"/>
                    </a:lnTo>
                    <a:lnTo>
                      <a:pt x="119330" y="113216"/>
                    </a:lnTo>
                    <a:lnTo>
                      <a:pt x="102966" y="107720"/>
                    </a:lnTo>
                    <a:lnTo>
                      <a:pt x="92902" y="100435"/>
                    </a:lnTo>
                    <a:lnTo>
                      <a:pt x="89473" y="90300"/>
                    </a:lnTo>
                    <a:lnTo>
                      <a:pt x="91313" y="81050"/>
                    </a:lnTo>
                    <a:lnTo>
                      <a:pt x="97367" y="73551"/>
                    </a:lnTo>
                    <a:lnTo>
                      <a:pt x="108437" y="68524"/>
                    </a:lnTo>
                    <a:lnTo>
                      <a:pt x="125326" y="66689"/>
                    </a:lnTo>
                    <a:lnTo>
                      <a:pt x="146369" y="68645"/>
                    </a:lnTo>
                    <a:lnTo>
                      <a:pt x="168489" y="74516"/>
                    </a:lnTo>
                    <a:lnTo>
                      <a:pt x="190362" y="84305"/>
                    </a:lnTo>
                    <a:lnTo>
                      <a:pt x="210663" y="98017"/>
                    </a:lnTo>
                    <a:lnTo>
                      <a:pt x="253301" y="42197"/>
                    </a:lnTo>
                    <a:lnTo>
                      <a:pt x="227314" y="23920"/>
                    </a:lnTo>
                    <a:lnTo>
                      <a:pt x="197916" y="10713"/>
                    </a:lnTo>
                    <a:lnTo>
                      <a:pt x="165458" y="2698"/>
                    </a:lnTo>
                    <a:lnTo>
                      <a:pt x="130289" y="0"/>
                    </a:lnTo>
                    <a:close/>
                  </a:path>
                </a:pathLst>
              </a:custGeom>
              <a:solidFill>
                <a:srgbClr val="00BFFF"/>
              </a:solidFill>
            </p:spPr>
            <p:txBody>
              <a:bodyPr wrap="square" lIns="0" tIns="0" rIns="0" bIns="0" rtlCol="0"/>
              <a:lstStyle/>
              <a:p>
                <a:endParaRPr kern="0">
                  <a:solidFill>
                    <a:sysClr val="windowText" lastClr="000000"/>
                  </a:solidFill>
                </a:endParaRPr>
              </a:p>
            </p:txBody>
          </p:sp>
        </p:grpSp>
        <p:sp>
          <p:nvSpPr>
            <p:cNvPr id="12" name="object 29">
              <a:extLst>
                <a:ext uri="{FF2B5EF4-FFF2-40B4-BE49-F238E27FC236}">
                  <a16:creationId xmlns:a16="http://schemas.microsoft.com/office/drawing/2014/main" id="{156C734A-CEA2-EE34-4AE9-0071E8258BB7}"/>
                </a:ext>
              </a:extLst>
            </p:cNvPr>
            <p:cNvSpPr/>
            <p:nvPr/>
          </p:nvSpPr>
          <p:spPr>
            <a:xfrm>
              <a:off x="11126915" y="6279572"/>
              <a:ext cx="336097" cy="190186"/>
            </a:xfrm>
            <a:custGeom>
              <a:avLst/>
              <a:gdLst/>
              <a:ahLst/>
              <a:cxnLst/>
              <a:rect l="l" t="t" r="r" b="b"/>
              <a:pathLst>
                <a:path w="554355" h="313690">
                  <a:moveTo>
                    <a:pt x="247383" y="4508"/>
                  </a:moveTo>
                  <a:lnTo>
                    <a:pt x="0" y="4508"/>
                  </a:lnTo>
                  <a:lnTo>
                    <a:pt x="0" y="73088"/>
                  </a:lnTo>
                  <a:lnTo>
                    <a:pt x="84886" y="73088"/>
                  </a:lnTo>
                  <a:lnTo>
                    <a:pt x="84886" y="308038"/>
                  </a:lnTo>
                  <a:lnTo>
                    <a:pt x="162928" y="308038"/>
                  </a:lnTo>
                  <a:lnTo>
                    <a:pt x="162928" y="73088"/>
                  </a:lnTo>
                  <a:lnTo>
                    <a:pt x="247383" y="73088"/>
                  </a:lnTo>
                  <a:lnTo>
                    <a:pt x="247383" y="4508"/>
                  </a:lnTo>
                  <a:close/>
                </a:path>
                <a:path w="554355" h="313690">
                  <a:moveTo>
                    <a:pt x="554139" y="81254"/>
                  </a:moveTo>
                  <a:lnTo>
                    <a:pt x="535305" y="51714"/>
                  </a:lnTo>
                  <a:lnTo>
                    <a:pt x="507720" y="25654"/>
                  </a:lnTo>
                  <a:lnTo>
                    <a:pt x="469734" y="7086"/>
                  </a:lnTo>
                  <a:lnTo>
                    <a:pt x="419760" y="0"/>
                  </a:lnTo>
                  <a:lnTo>
                    <a:pt x="368109" y="7315"/>
                  </a:lnTo>
                  <a:lnTo>
                    <a:pt x="323684" y="28206"/>
                  </a:lnTo>
                  <a:lnTo>
                    <a:pt x="288937" y="61087"/>
                  </a:lnTo>
                  <a:lnTo>
                    <a:pt x="266293" y="104419"/>
                  </a:lnTo>
                  <a:lnTo>
                    <a:pt x="258191" y="156603"/>
                  </a:lnTo>
                  <a:lnTo>
                    <a:pt x="266280" y="208622"/>
                  </a:lnTo>
                  <a:lnTo>
                    <a:pt x="288912" y="251929"/>
                  </a:lnTo>
                  <a:lnTo>
                    <a:pt x="323672" y="284886"/>
                  </a:lnTo>
                  <a:lnTo>
                    <a:pt x="368096" y="305854"/>
                  </a:lnTo>
                  <a:lnTo>
                    <a:pt x="419760" y="313207"/>
                  </a:lnTo>
                  <a:lnTo>
                    <a:pt x="469798" y="306006"/>
                  </a:lnTo>
                  <a:lnTo>
                    <a:pt x="507885" y="287223"/>
                  </a:lnTo>
                  <a:lnTo>
                    <a:pt x="535495" y="261124"/>
                  </a:lnTo>
                  <a:lnTo>
                    <a:pt x="554139" y="231952"/>
                  </a:lnTo>
                  <a:lnTo>
                    <a:pt x="486943" y="200190"/>
                  </a:lnTo>
                  <a:lnTo>
                    <a:pt x="476643" y="217208"/>
                  </a:lnTo>
                  <a:lnTo>
                    <a:pt x="461352" y="231216"/>
                  </a:lnTo>
                  <a:lnTo>
                    <a:pt x="442074" y="240703"/>
                  </a:lnTo>
                  <a:lnTo>
                    <a:pt x="419760" y="244208"/>
                  </a:lnTo>
                  <a:lnTo>
                    <a:pt x="387032" y="237477"/>
                  </a:lnTo>
                  <a:lnTo>
                    <a:pt x="361010" y="218960"/>
                  </a:lnTo>
                  <a:lnTo>
                    <a:pt x="343827" y="191160"/>
                  </a:lnTo>
                  <a:lnTo>
                    <a:pt x="337629" y="156603"/>
                  </a:lnTo>
                  <a:lnTo>
                    <a:pt x="343827" y="122047"/>
                  </a:lnTo>
                  <a:lnTo>
                    <a:pt x="360984" y="94246"/>
                  </a:lnTo>
                  <a:lnTo>
                    <a:pt x="387007" y="75730"/>
                  </a:lnTo>
                  <a:lnTo>
                    <a:pt x="419760" y="69011"/>
                  </a:lnTo>
                  <a:lnTo>
                    <a:pt x="442074" y="72504"/>
                  </a:lnTo>
                  <a:lnTo>
                    <a:pt x="461352" y="81991"/>
                  </a:lnTo>
                  <a:lnTo>
                    <a:pt x="476643" y="95999"/>
                  </a:lnTo>
                  <a:lnTo>
                    <a:pt x="486943" y="113030"/>
                  </a:lnTo>
                  <a:lnTo>
                    <a:pt x="554139" y="81254"/>
                  </a:lnTo>
                  <a:close/>
                </a:path>
              </a:pathLst>
            </a:custGeom>
            <a:solidFill>
              <a:srgbClr val="FFFFFF"/>
            </a:solidFill>
          </p:spPr>
          <p:txBody>
            <a:bodyPr wrap="square" lIns="0" tIns="0" rIns="0" bIns="0" rtlCol="0"/>
            <a:lstStyle/>
            <a:p>
              <a:endParaRPr kern="0">
                <a:solidFill>
                  <a:sysClr val="windowText" lastClr="000000"/>
                </a:solidFill>
              </a:endParaRPr>
            </a:p>
          </p:txBody>
        </p:sp>
      </p:grpSp>
    </p:spTree>
    <p:extLst>
      <p:ext uri="{BB962C8B-B14F-4D97-AF65-F5344CB8AC3E}">
        <p14:creationId xmlns:p14="http://schemas.microsoft.com/office/powerpoint/2010/main" val="12973865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F42569B-14C1-480A-826C-27D70A3288BE}" type="datetimeFigureOut">
              <a:rPr lang="en-US" smtClean="0"/>
              <a:t>4/2/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B05F229-852D-4A77-95BA-3D996206520B}" type="slidenum">
              <a:rPr lang="en-US" smtClean="0"/>
              <a:t>‹#›</a:t>
            </a:fld>
            <a:endParaRPr lang="en-US"/>
          </a:p>
        </p:txBody>
      </p:sp>
    </p:spTree>
    <p:extLst>
      <p:ext uri="{BB962C8B-B14F-4D97-AF65-F5344CB8AC3E}">
        <p14:creationId xmlns:p14="http://schemas.microsoft.com/office/powerpoint/2010/main" val="300838551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5_Title Subtitle and graphic - Dark">
    <p:bg>
      <p:bgPr>
        <a:solidFill>
          <a:schemeClr val="tx2"/>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C16F05C-4BB9-7C82-C709-68EA2F74B897}"/>
              </a:ext>
            </a:extLst>
          </p:cNvPr>
          <p:cNvSpPr>
            <a:spLocks noGrp="1"/>
          </p:cNvSpPr>
          <p:nvPr>
            <p:ph type="dt" sz="half" idx="10"/>
          </p:nvPr>
        </p:nvSpPr>
        <p:spPr/>
        <p:txBody>
          <a:bodyPr/>
          <a:lstStyle/>
          <a:p>
            <a:fld id="{538BA0BE-9994-4243-B399-F1EA7335824C}" type="datetime1">
              <a:rPr lang="en-US" smtClean="0"/>
              <a:t>4/2/2025</a:t>
            </a:fld>
            <a:endParaRPr lang="en-US"/>
          </a:p>
        </p:txBody>
      </p:sp>
      <p:sp>
        <p:nvSpPr>
          <p:cNvPr id="4" name="Footer Placeholder 3">
            <a:extLst>
              <a:ext uri="{FF2B5EF4-FFF2-40B4-BE49-F238E27FC236}">
                <a16:creationId xmlns:a16="http://schemas.microsoft.com/office/drawing/2014/main" id="{B562C211-B566-11DA-A38D-906051586563}"/>
              </a:ext>
            </a:extLst>
          </p:cNvPr>
          <p:cNvSpPr>
            <a:spLocks noGrp="1"/>
          </p:cNvSpPr>
          <p:nvPr>
            <p:ph type="ftr" sz="quarter" idx="11"/>
          </p:nvPr>
        </p:nvSpPr>
        <p:spPr/>
        <p:txBody>
          <a:bodyPr/>
          <a:lstStyle/>
          <a:p>
            <a:endParaRPr lang="en-US"/>
          </a:p>
        </p:txBody>
      </p:sp>
      <p:sp>
        <p:nvSpPr>
          <p:cNvPr id="6" name="object 24">
            <a:extLst>
              <a:ext uri="{FF2B5EF4-FFF2-40B4-BE49-F238E27FC236}">
                <a16:creationId xmlns:a16="http://schemas.microsoft.com/office/drawing/2014/main" id="{E5F920B2-E5F2-B5E1-9A23-2C5EE88B6F55}"/>
              </a:ext>
            </a:extLst>
          </p:cNvPr>
          <p:cNvSpPr/>
          <p:nvPr userDrawn="1"/>
        </p:nvSpPr>
        <p:spPr>
          <a:xfrm>
            <a:off x="1588" y="343463"/>
            <a:ext cx="152457" cy="6170641"/>
          </a:xfrm>
          <a:custGeom>
            <a:avLst/>
            <a:gdLst/>
            <a:ahLst/>
            <a:cxnLst/>
            <a:rect l="l" t="t" r="r" b="b"/>
            <a:pathLst>
              <a:path w="251460" h="10177780">
                <a:moveTo>
                  <a:pt x="251301" y="0"/>
                </a:moveTo>
                <a:lnTo>
                  <a:pt x="0" y="0"/>
                </a:lnTo>
                <a:lnTo>
                  <a:pt x="0" y="10177700"/>
                </a:lnTo>
                <a:lnTo>
                  <a:pt x="251301" y="10177700"/>
                </a:lnTo>
                <a:lnTo>
                  <a:pt x="251301" y="0"/>
                </a:lnTo>
                <a:close/>
              </a:path>
            </a:pathLst>
          </a:custGeom>
          <a:solidFill>
            <a:schemeClr val="accent3"/>
          </a:solidFill>
        </p:spPr>
        <p:txBody>
          <a:bodyPr wrap="square" lIns="0" tIns="0" rIns="0" bIns="0" rtlCol="0"/>
          <a:lstStyle/>
          <a:p>
            <a:endParaRPr kern="0">
              <a:solidFill>
                <a:sysClr val="windowText" lastClr="000000"/>
              </a:solidFill>
            </a:endParaRPr>
          </a:p>
        </p:txBody>
      </p:sp>
      <p:sp>
        <p:nvSpPr>
          <p:cNvPr id="7" name="Text Placeholder 32">
            <a:extLst>
              <a:ext uri="{FF2B5EF4-FFF2-40B4-BE49-F238E27FC236}">
                <a16:creationId xmlns:a16="http://schemas.microsoft.com/office/drawing/2014/main" id="{76176889-EC90-7074-D8BD-FB8FBFBCB343}"/>
              </a:ext>
            </a:extLst>
          </p:cNvPr>
          <p:cNvSpPr>
            <a:spLocks noGrp="1"/>
          </p:cNvSpPr>
          <p:nvPr>
            <p:ph type="body" sz="quarter" idx="14" hasCustomPrompt="1"/>
          </p:nvPr>
        </p:nvSpPr>
        <p:spPr>
          <a:xfrm>
            <a:off x="763623" y="332656"/>
            <a:ext cx="8229600" cy="914400"/>
          </a:xfrm>
        </p:spPr>
        <p:txBody>
          <a:bodyPr anchor="b"/>
          <a:lstStyle>
            <a:lvl1pPr marL="0" indent="0">
              <a:spcBef>
                <a:spcPts val="0"/>
              </a:spcBef>
              <a:buNone/>
              <a:defRPr sz="3150">
                <a:solidFill>
                  <a:schemeClr val="bg1"/>
                </a:solidFill>
                <a:latin typeface="+mj-lt"/>
              </a:defRPr>
            </a:lvl1pPr>
          </a:lstStyle>
          <a:p>
            <a:pPr lvl="0"/>
            <a:r>
              <a:rPr lang="en-US"/>
              <a:t>Heading</a:t>
            </a:r>
          </a:p>
        </p:txBody>
      </p:sp>
      <p:sp>
        <p:nvSpPr>
          <p:cNvPr id="10" name="Text Placeholder 9">
            <a:extLst>
              <a:ext uri="{FF2B5EF4-FFF2-40B4-BE49-F238E27FC236}">
                <a16:creationId xmlns:a16="http://schemas.microsoft.com/office/drawing/2014/main" id="{37CFB753-B7D0-7691-BBDF-851034055F44}"/>
              </a:ext>
            </a:extLst>
          </p:cNvPr>
          <p:cNvSpPr>
            <a:spLocks noGrp="1"/>
          </p:cNvSpPr>
          <p:nvPr>
            <p:ph type="body" sz="quarter" idx="15"/>
          </p:nvPr>
        </p:nvSpPr>
        <p:spPr>
          <a:xfrm>
            <a:off x="763623" y="1304764"/>
            <a:ext cx="8229600" cy="457200"/>
          </a:xfrm>
        </p:spPr>
        <p:txBody>
          <a:bodyPr/>
          <a:lstStyle>
            <a:lvl1pPr marL="0" indent="0">
              <a:buNone/>
              <a:defRPr sz="2400" b="0">
                <a:solidFill>
                  <a:schemeClr val="accent3"/>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8" name="Slide Number Box">
            <a:extLst>
              <a:ext uri="{FF2B5EF4-FFF2-40B4-BE49-F238E27FC236}">
                <a16:creationId xmlns:a16="http://schemas.microsoft.com/office/drawing/2014/main" id="{0F62DB2E-BAFF-C32E-D7F1-267A0C3E04A9}"/>
              </a:ext>
            </a:extLst>
          </p:cNvPr>
          <p:cNvSpPr txBox="1"/>
          <p:nvPr userDrawn="1"/>
        </p:nvSpPr>
        <p:spPr>
          <a:xfrm>
            <a:off x="11566535" y="6234575"/>
            <a:ext cx="279503" cy="283464"/>
          </a:xfrm>
          <a:prstGeom prst="rect">
            <a:avLst/>
          </a:prstGeom>
          <a:solidFill>
            <a:srgbClr val="FFD700"/>
          </a:solidFill>
        </p:spPr>
        <p:txBody>
          <a:bodyPr vert="horz" wrap="square" lIns="0" tIns="38884" rIns="0" bIns="0" rtlCol="0">
            <a:spAutoFit/>
          </a:bodyPr>
          <a:lstStyle/>
          <a:p>
            <a:pPr marL="55825" algn="ctr">
              <a:spcBef>
                <a:spcPts val="306"/>
              </a:spcBef>
            </a:pPr>
            <a:endParaRPr sz="1182">
              <a:latin typeface="Real Head Pro"/>
              <a:cs typeface="Real Head Pro"/>
            </a:endParaRPr>
          </a:p>
        </p:txBody>
      </p:sp>
      <p:sp>
        <p:nvSpPr>
          <p:cNvPr id="9" name="Slide Number Placeholder 4">
            <a:extLst>
              <a:ext uri="{FF2B5EF4-FFF2-40B4-BE49-F238E27FC236}">
                <a16:creationId xmlns:a16="http://schemas.microsoft.com/office/drawing/2014/main" id="{F19D5302-242A-C96C-DC51-6B38927710A9}"/>
              </a:ext>
            </a:extLst>
          </p:cNvPr>
          <p:cNvSpPr>
            <a:spLocks noGrp="1"/>
          </p:cNvSpPr>
          <p:nvPr>
            <p:ph type="sldNum" sz="quarter" idx="12"/>
          </p:nvPr>
        </p:nvSpPr>
        <p:spPr>
          <a:xfrm>
            <a:off x="11562574" y="6234576"/>
            <a:ext cx="283464" cy="283464"/>
          </a:xfrm>
        </p:spPr>
        <p:txBody>
          <a:bodyPr/>
          <a:lstStyle/>
          <a:p>
            <a:fld id="{FF7D9A68-EC15-4B1F-850C-8A6CCAFA90D8}" type="slidenum">
              <a:rPr lang="en-US" smtClean="0"/>
              <a:pPr/>
              <a:t>‹#›</a:t>
            </a:fld>
            <a:endParaRPr lang="en-US"/>
          </a:p>
        </p:txBody>
      </p:sp>
      <p:grpSp>
        <p:nvGrpSpPr>
          <p:cNvPr id="2" name="Group 1">
            <a:extLst>
              <a:ext uri="{FF2B5EF4-FFF2-40B4-BE49-F238E27FC236}">
                <a16:creationId xmlns:a16="http://schemas.microsoft.com/office/drawing/2014/main" id="{7DEDC279-3AD4-3BD4-FC39-76149697ECF6}"/>
              </a:ext>
            </a:extLst>
          </p:cNvPr>
          <p:cNvGrpSpPr>
            <a:grpSpLocks noChangeAspect="1"/>
          </p:cNvGrpSpPr>
          <p:nvPr userDrawn="1"/>
        </p:nvGrpSpPr>
        <p:grpSpPr>
          <a:xfrm>
            <a:off x="9560283" y="6247999"/>
            <a:ext cx="1869482" cy="292608"/>
            <a:chOff x="9444187" y="508520"/>
            <a:chExt cx="2339198" cy="366127"/>
          </a:xfrm>
        </p:grpSpPr>
        <p:pic>
          <p:nvPicPr>
            <p:cNvPr id="5" name="object 4">
              <a:extLst>
                <a:ext uri="{FF2B5EF4-FFF2-40B4-BE49-F238E27FC236}">
                  <a16:creationId xmlns:a16="http://schemas.microsoft.com/office/drawing/2014/main" id="{D95BAAA5-9042-D8A5-BEEF-D7B24FEDA374}"/>
                </a:ext>
              </a:extLst>
            </p:cNvPr>
            <p:cNvPicPr/>
            <p:nvPr/>
          </p:nvPicPr>
          <p:blipFill>
            <a:blip r:embed="rId2" cstate="print"/>
            <a:stretch>
              <a:fillRect/>
            </a:stretch>
          </p:blipFill>
          <p:spPr>
            <a:xfrm>
              <a:off x="9444187" y="568546"/>
              <a:ext cx="1372592" cy="246070"/>
            </a:xfrm>
            <a:prstGeom prst="rect">
              <a:avLst/>
            </a:prstGeom>
          </p:spPr>
        </p:pic>
        <p:sp>
          <p:nvSpPr>
            <p:cNvPr id="16" name="object 10">
              <a:extLst>
                <a:ext uri="{FF2B5EF4-FFF2-40B4-BE49-F238E27FC236}">
                  <a16:creationId xmlns:a16="http://schemas.microsoft.com/office/drawing/2014/main" id="{505E1605-3FF3-0AF4-FFD2-7B9A4E42B46F}"/>
                </a:ext>
              </a:extLst>
            </p:cNvPr>
            <p:cNvSpPr/>
            <p:nvPr/>
          </p:nvSpPr>
          <p:spPr>
            <a:xfrm>
              <a:off x="10956631" y="508520"/>
              <a:ext cx="0" cy="366127"/>
            </a:xfrm>
            <a:custGeom>
              <a:avLst/>
              <a:gdLst/>
              <a:ahLst/>
              <a:cxnLst/>
              <a:rect l="l" t="t" r="r" b="b"/>
              <a:pathLst>
                <a:path h="603885">
                  <a:moveTo>
                    <a:pt x="0" y="0"/>
                  </a:moveTo>
                  <a:lnTo>
                    <a:pt x="0" y="603876"/>
                  </a:lnTo>
                </a:path>
              </a:pathLst>
            </a:custGeom>
            <a:ln w="8481">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Real Text Pro"/>
                <a:ea typeface="+mn-ea"/>
                <a:cs typeface="+mn-cs"/>
              </a:endParaRPr>
            </a:p>
          </p:txBody>
        </p:sp>
        <p:pic>
          <p:nvPicPr>
            <p:cNvPr id="17" name="object 24">
              <a:extLst>
                <a:ext uri="{FF2B5EF4-FFF2-40B4-BE49-F238E27FC236}">
                  <a16:creationId xmlns:a16="http://schemas.microsoft.com/office/drawing/2014/main" id="{BCA4FE5A-504F-D0A9-3E5C-F23042413ACC}"/>
                </a:ext>
              </a:extLst>
            </p:cNvPr>
            <p:cNvPicPr/>
            <p:nvPr/>
          </p:nvPicPr>
          <p:blipFill>
            <a:blip r:embed="rId3" cstate="print"/>
            <a:srcRect t="2" r="8299" b="42551"/>
            <a:stretch/>
          </p:blipFill>
          <p:spPr>
            <a:xfrm>
              <a:off x="11109501" y="589948"/>
              <a:ext cx="673884" cy="185327"/>
            </a:xfrm>
            <a:prstGeom prst="rect">
              <a:avLst/>
            </a:prstGeom>
          </p:spPr>
        </p:pic>
      </p:grpSp>
    </p:spTree>
    <p:extLst>
      <p:ext uri="{BB962C8B-B14F-4D97-AF65-F5344CB8AC3E}">
        <p14:creationId xmlns:p14="http://schemas.microsoft.com/office/powerpoint/2010/main" val="23779740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itleOnly" preserve="1">
  <p:cSld name="2_Title Only and Grapic - Dark">
    <p:bg>
      <p:bgPr>
        <a:solidFill>
          <a:schemeClr val="tx2"/>
        </a:solidFill>
        <a:effectLst/>
      </p:bgPr>
    </p:bg>
    <p:spTree>
      <p:nvGrpSpPr>
        <p:cNvPr id="1" name=""/>
        <p:cNvGrpSpPr/>
        <p:nvPr/>
      </p:nvGrpSpPr>
      <p:grpSpPr>
        <a:xfrm>
          <a:off x="0" y="0"/>
          <a:ext cx="0" cy="0"/>
          <a:chOff x="0" y="0"/>
          <a:chExt cx="0" cy="0"/>
        </a:xfrm>
      </p:grpSpPr>
      <p:sp>
        <p:nvSpPr>
          <p:cNvPr id="7" name="Page Number">
            <a:extLst>
              <a:ext uri="{FF2B5EF4-FFF2-40B4-BE49-F238E27FC236}">
                <a16:creationId xmlns:a16="http://schemas.microsoft.com/office/drawing/2014/main" id="{8EE183D6-F853-D28F-DEF8-905FC1CA4927}"/>
              </a:ext>
            </a:extLst>
          </p:cNvPr>
          <p:cNvSpPr txBox="1"/>
          <p:nvPr userDrawn="1"/>
        </p:nvSpPr>
        <p:spPr>
          <a:xfrm>
            <a:off x="11566535" y="6234575"/>
            <a:ext cx="279503" cy="283464"/>
          </a:xfrm>
          <a:prstGeom prst="rect">
            <a:avLst/>
          </a:prstGeom>
          <a:solidFill>
            <a:srgbClr val="FFD700"/>
          </a:solidFill>
        </p:spPr>
        <p:txBody>
          <a:bodyPr vert="horz" wrap="square" lIns="0" tIns="38884" rIns="0" bIns="0" rtlCol="0">
            <a:spAutoFit/>
          </a:bodyPr>
          <a:lstStyle/>
          <a:p>
            <a:pPr marL="55825" algn="ctr">
              <a:spcBef>
                <a:spcPts val="306"/>
              </a:spcBef>
            </a:pPr>
            <a:endParaRPr sz="1182">
              <a:latin typeface="Real Head Pro"/>
              <a:cs typeface="Real Head Pro"/>
            </a:endParaRPr>
          </a:p>
        </p:txBody>
      </p:sp>
      <p:sp>
        <p:nvSpPr>
          <p:cNvPr id="2" name="Title 1">
            <a:extLst>
              <a:ext uri="{FF2B5EF4-FFF2-40B4-BE49-F238E27FC236}">
                <a16:creationId xmlns:a16="http://schemas.microsoft.com/office/drawing/2014/main" id="{0F485E03-52E8-3AF3-2238-DAC8C9B61935}"/>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8C16F05C-4BB9-7C82-C709-68EA2F74B897}"/>
              </a:ext>
            </a:extLst>
          </p:cNvPr>
          <p:cNvSpPr>
            <a:spLocks noGrp="1"/>
          </p:cNvSpPr>
          <p:nvPr>
            <p:ph type="dt" sz="half" idx="10"/>
          </p:nvPr>
        </p:nvSpPr>
        <p:spPr/>
        <p:txBody>
          <a:bodyPr/>
          <a:lstStyle>
            <a:lvl1pPr>
              <a:defRPr>
                <a:solidFill>
                  <a:schemeClr val="bg1"/>
                </a:solidFill>
              </a:defRPr>
            </a:lvl1pPr>
          </a:lstStyle>
          <a:p>
            <a:fld id="{BB73F1C2-9DBF-430B-A4AA-5518C9FCA26A}" type="datetime1">
              <a:rPr lang="en-US" smtClean="0"/>
              <a:t>4/2/2025</a:t>
            </a:fld>
            <a:endParaRPr lang="en-US"/>
          </a:p>
        </p:txBody>
      </p:sp>
      <p:sp>
        <p:nvSpPr>
          <p:cNvPr id="4" name="Footer Placeholder 3">
            <a:extLst>
              <a:ext uri="{FF2B5EF4-FFF2-40B4-BE49-F238E27FC236}">
                <a16:creationId xmlns:a16="http://schemas.microsoft.com/office/drawing/2014/main" id="{B562C211-B566-11DA-A38D-906051586563}"/>
              </a:ext>
            </a:extLst>
          </p:cNvPr>
          <p:cNvSpPr>
            <a:spLocks noGrp="1"/>
          </p:cNvSpPr>
          <p:nvPr>
            <p:ph type="ftr" sz="quarter" idx="11"/>
          </p:nvPr>
        </p:nvSpPr>
        <p:spPr/>
        <p:txBody>
          <a:bodyPr/>
          <a:lstStyle>
            <a:lvl1pPr>
              <a:defRPr>
                <a:solidFill>
                  <a:schemeClr val="bg1"/>
                </a:solidFill>
              </a:defRPr>
            </a:lvl1pPr>
          </a:lstStyle>
          <a:p>
            <a:endParaRPr lang="en-US"/>
          </a:p>
        </p:txBody>
      </p:sp>
      <p:sp>
        <p:nvSpPr>
          <p:cNvPr id="5" name="Slide Number Placeholder 4">
            <a:extLst>
              <a:ext uri="{FF2B5EF4-FFF2-40B4-BE49-F238E27FC236}">
                <a16:creationId xmlns:a16="http://schemas.microsoft.com/office/drawing/2014/main" id="{A7048A19-F166-EDA1-0B00-A974B424E906}"/>
              </a:ext>
            </a:extLst>
          </p:cNvPr>
          <p:cNvSpPr>
            <a:spLocks noGrp="1"/>
          </p:cNvSpPr>
          <p:nvPr>
            <p:ph type="sldNum" sz="quarter" idx="12"/>
          </p:nvPr>
        </p:nvSpPr>
        <p:spPr/>
        <p:txBody>
          <a:bodyPr/>
          <a:lstStyle/>
          <a:p>
            <a:fld id="{FF7D9A68-EC15-4B1F-850C-8A6CCAFA90D8}" type="slidenum">
              <a:rPr lang="en-US" smtClean="0"/>
              <a:t>‹#›</a:t>
            </a:fld>
            <a:endParaRPr lang="en-US"/>
          </a:p>
        </p:txBody>
      </p:sp>
      <p:sp>
        <p:nvSpPr>
          <p:cNvPr id="6" name="object 24">
            <a:extLst>
              <a:ext uri="{FF2B5EF4-FFF2-40B4-BE49-F238E27FC236}">
                <a16:creationId xmlns:a16="http://schemas.microsoft.com/office/drawing/2014/main" id="{923F10B5-0EAF-6574-7B70-A5790ADE8361}"/>
              </a:ext>
            </a:extLst>
          </p:cNvPr>
          <p:cNvSpPr/>
          <p:nvPr userDrawn="1"/>
        </p:nvSpPr>
        <p:spPr>
          <a:xfrm>
            <a:off x="1588" y="343463"/>
            <a:ext cx="152457" cy="6170641"/>
          </a:xfrm>
          <a:custGeom>
            <a:avLst/>
            <a:gdLst/>
            <a:ahLst/>
            <a:cxnLst/>
            <a:rect l="l" t="t" r="r" b="b"/>
            <a:pathLst>
              <a:path w="251460" h="10177780">
                <a:moveTo>
                  <a:pt x="251301" y="0"/>
                </a:moveTo>
                <a:lnTo>
                  <a:pt x="0" y="0"/>
                </a:lnTo>
                <a:lnTo>
                  <a:pt x="0" y="10177700"/>
                </a:lnTo>
                <a:lnTo>
                  <a:pt x="251301" y="10177700"/>
                </a:lnTo>
                <a:lnTo>
                  <a:pt x="251301" y="0"/>
                </a:lnTo>
                <a:close/>
              </a:path>
            </a:pathLst>
          </a:custGeom>
          <a:solidFill>
            <a:schemeClr val="accent3"/>
          </a:solidFill>
        </p:spPr>
        <p:txBody>
          <a:bodyPr wrap="square" lIns="0" tIns="0" rIns="0" bIns="0" rtlCol="0"/>
          <a:lstStyle/>
          <a:p>
            <a:endParaRPr kern="0">
              <a:solidFill>
                <a:sysClr val="windowText" lastClr="000000"/>
              </a:solidFill>
            </a:endParaRPr>
          </a:p>
        </p:txBody>
      </p:sp>
    </p:spTree>
    <p:extLst>
      <p:ext uri="{BB962C8B-B14F-4D97-AF65-F5344CB8AC3E}">
        <p14:creationId xmlns:p14="http://schemas.microsoft.com/office/powerpoint/2010/main" val="100119974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7_Title and Eyebrow with graphic Dark">
    <p:bg>
      <p:bgPr>
        <a:solidFill>
          <a:schemeClr val="tx2"/>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C16F05C-4BB9-7C82-C709-68EA2F74B897}"/>
              </a:ext>
            </a:extLst>
          </p:cNvPr>
          <p:cNvSpPr>
            <a:spLocks noGrp="1"/>
          </p:cNvSpPr>
          <p:nvPr>
            <p:ph type="dt" sz="half" idx="10"/>
          </p:nvPr>
        </p:nvSpPr>
        <p:spPr/>
        <p:txBody>
          <a:bodyPr/>
          <a:lstStyle/>
          <a:p>
            <a:fld id="{538BA0BE-9994-4243-B399-F1EA7335824C}" type="datetime1">
              <a:rPr lang="en-US" smtClean="0"/>
              <a:t>4/2/2025</a:t>
            </a:fld>
            <a:endParaRPr lang="en-US"/>
          </a:p>
        </p:txBody>
      </p:sp>
      <p:sp>
        <p:nvSpPr>
          <p:cNvPr id="4" name="Footer Placeholder 3">
            <a:extLst>
              <a:ext uri="{FF2B5EF4-FFF2-40B4-BE49-F238E27FC236}">
                <a16:creationId xmlns:a16="http://schemas.microsoft.com/office/drawing/2014/main" id="{B562C211-B566-11DA-A38D-906051586563}"/>
              </a:ext>
            </a:extLst>
          </p:cNvPr>
          <p:cNvSpPr>
            <a:spLocks noGrp="1"/>
          </p:cNvSpPr>
          <p:nvPr>
            <p:ph type="ftr" sz="quarter" idx="11"/>
          </p:nvPr>
        </p:nvSpPr>
        <p:spPr/>
        <p:txBody>
          <a:bodyPr/>
          <a:lstStyle/>
          <a:p>
            <a:endParaRPr lang="en-US"/>
          </a:p>
        </p:txBody>
      </p:sp>
      <p:sp>
        <p:nvSpPr>
          <p:cNvPr id="6" name="object 24">
            <a:extLst>
              <a:ext uri="{FF2B5EF4-FFF2-40B4-BE49-F238E27FC236}">
                <a16:creationId xmlns:a16="http://schemas.microsoft.com/office/drawing/2014/main" id="{E5F920B2-E5F2-B5E1-9A23-2C5EE88B6F55}"/>
              </a:ext>
            </a:extLst>
          </p:cNvPr>
          <p:cNvSpPr/>
          <p:nvPr userDrawn="1"/>
        </p:nvSpPr>
        <p:spPr>
          <a:xfrm>
            <a:off x="1588" y="343463"/>
            <a:ext cx="152457" cy="6170641"/>
          </a:xfrm>
          <a:custGeom>
            <a:avLst/>
            <a:gdLst/>
            <a:ahLst/>
            <a:cxnLst/>
            <a:rect l="l" t="t" r="r" b="b"/>
            <a:pathLst>
              <a:path w="251460" h="10177780">
                <a:moveTo>
                  <a:pt x="251301" y="0"/>
                </a:moveTo>
                <a:lnTo>
                  <a:pt x="0" y="0"/>
                </a:lnTo>
                <a:lnTo>
                  <a:pt x="0" y="10177700"/>
                </a:lnTo>
                <a:lnTo>
                  <a:pt x="251301" y="10177700"/>
                </a:lnTo>
                <a:lnTo>
                  <a:pt x="251301" y="0"/>
                </a:lnTo>
                <a:close/>
              </a:path>
            </a:pathLst>
          </a:custGeom>
          <a:solidFill>
            <a:schemeClr val="accent4"/>
          </a:solidFill>
        </p:spPr>
        <p:txBody>
          <a:bodyPr wrap="square" lIns="0" tIns="0" rIns="0" bIns="0" rtlCol="0"/>
          <a:lstStyle/>
          <a:p>
            <a:endParaRPr kern="0">
              <a:solidFill>
                <a:sysClr val="windowText" lastClr="000000"/>
              </a:solidFill>
            </a:endParaRPr>
          </a:p>
        </p:txBody>
      </p:sp>
      <p:sp>
        <p:nvSpPr>
          <p:cNvPr id="7" name="Text Placeholder 32">
            <a:extLst>
              <a:ext uri="{FF2B5EF4-FFF2-40B4-BE49-F238E27FC236}">
                <a16:creationId xmlns:a16="http://schemas.microsoft.com/office/drawing/2014/main" id="{76176889-EC90-7074-D8BD-FB8FBFBCB343}"/>
              </a:ext>
            </a:extLst>
          </p:cNvPr>
          <p:cNvSpPr>
            <a:spLocks noGrp="1"/>
          </p:cNvSpPr>
          <p:nvPr>
            <p:ph type="body" sz="quarter" idx="14" hasCustomPrompt="1"/>
          </p:nvPr>
        </p:nvSpPr>
        <p:spPr>
          <a:xfrm>
            <a:off x="763623" y="789856"/>
            <a:ext cx="10972800" cy="457200"/>
          </a:xfrm>
        </p:spPr>
        <p:txBody>
          <a:bodyPr anchor="b"/>
          <a:lstStyle>
            <a:lvl1pPr marL="0" indent="0">
              <a:spcBef>
                <a:spcPts val="0"/>
              </a:spcBef>
              <a:buNone/>
              <a:defRPr sz="3150">
                <a:solidFill>
                  <a:schemeClr val="bg2"/>
                </a:solidFill>
                <a:latin typeface="+mj-lt"/>
              </a:defRPr>
            </a:lvl1pPr>
          </a:lstStyle>
          <a:p>
            <a:pPr lvl="0"/>
            <a:r>
              <a:rPr lang="en-US"/>
              <a:t>Heading</a:t>
            </a:r>
          </a:p>
        </p:txBody>
      </p:sp>
      <p:sp>
        <p:nvSpPr>
          <p:cNvPr id="2" name="Text Placeholder 9">
            <a:extLst>
              <a:ext uri="{FF2B5EF4-FFF2-40B4-BE49-F238E27FC236}">
                <a16:creationId xmlns:a16="http://schemas.microsoft.com/office/drawing/2014/main" id="{892A23AA-62D6-9D6B-93E6-E42206E7374A}"/>
              </a:ext>
            </a:extLst>
          </p:cNvPr>
          <p:cNvSpPr>
            <a:spLocks noGrp="1"/>
          </p:cNvSpPr>
          <p:nvPr>
            <p:ph type="body" sz="quarter" idx="15"/>
          </p:nvPr>
        </p:nvSpPr>
        <p:spPr>
          <a:xfrm>
            <a:off x="763623" y="332656"/>
            <a:ext cx="10972800" cy="457200"/>
          </a:xfrm>
        </p:spPr>
        <p:txBody>
          <a:bodyPr/>
          <a:lstStyle>
            <a:lvl1pPr marL="0" indent="0">
              <a:buNone/>
              <a:defRPr sz="2400" b="0">
                <a:solidFill>
                  <a:schemeClr val="accent3"/>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8" name="Slide Number Box">
            <a:extLst>
              <a:ext uri="{FF2B5EF4-FFF2-40B4-BE49-F238E27FC236}">
                <a16:creationId xmlns:a16="http://schemas.microsoft.com/office/drawing/2014/main" id="{203616B5-1064-F270-59E6-FDC912A39A1C}"/>
              </a:ext>
            </a:extLst>
          </p:cNvPr>
          <p:cNvSpPr txBox="1"/>
          <p:nvPr userDrawn="1"/>
        </p:nvSpPr>
        <p:spPr>
          <a:xfrm>
            <a:off x="11566535" y="6234575"/>
            <a:ext cx="279503" cy="283464"/>
          </a:xfrm>
          <a:prstGeom prst="rect">
            <a:avLst/>
          </a:prstGeom>
          <a:solidFill>
            <a:srgbClr val="FFD700"/>
          </a:solidFill>
        </p:spPr>
        <p:txBody>
          <a:bodyPr vert="horz" wrap="square" lIns="0" tIns="38884" rIns="0" bIns="0" rtlCol="0">
            <a:spAutoFit/>
          </a:bodyPr>
          <a:lstStyle/>
          <a:p>
            <a:pPr marL="55825" algn="ctr">
              <a:spcBef>
                <a:spcPts val="306"/>
              </a:spcBef>
            </a:pPr>
            <a:endParaRPr sz="1182">
              <a:latin typeface="Real Head Pro"/>
              <a:cs typeface="Real Head Pro"/>
            </a:endParaRPr>
          </a:p>
        </p:txBody>
      </p:sp>
      <p:sp>
        <p:nvSpPr>
          <p:cNvPr id="9" name="Slide Number Placeholder 4">
            <a:extLst>
              <a:ext uri="{FF2B5EF4-FFF2-40B4-BE49-F238E27FC236}">
                <a16:creationId xmlns:a16="http://schemas.microsoft.com/office/drawing/2014/main" id="{DE90A3C5-FF0D-7A30-8318-5D1174F7A761}"/>
              </a:ext>
            </a:extLst>
          </p:cNvPr>
          <p:cNvSpPr>
            <a:spLocks noGrp="1"/>
          </p:cNvSpPr>
          <p:nvPr>
            <p:ph type="sldNum" sz="quarter" idx="12"/>
          </p:nvPr>
        </p:nvSpPr>
        <p:spPr>
          <a:xfrm>
            <a:off x="11562574" y="6234576"/>
            <a:ext cx="283464" cy="283464"/>
          </a:xfrm>
        </p:spPr>
        <p:txBody>
          <a:bodyPr/>
          <a:lstStyle/>
          <a:p>
            <a:fld id="{FF7D9A68-EC15-4B1F-850C-8A6CCAFA90D8}" type="slidenum">
              <a:rPr lang="en-US" smtClean="0"/>
              <a:pPr/>
              <a:t>‹#›</a:t>
            </a:fld>
            <a:endParaRPr lang="en-US"/>
          </a:p>
        </p:txBody>
      </p:sp>
      <p:grpSp>
        <p:nvGrpSpPr>
          <p:cNvPr id="10" name="Group 9">
            <a:extLst>
              <a:ext uri="{FF2B5EF4-FFF2-40B4-BE49-F238E27FC236}">
                <a16:creationId xmlns:a16="http://schemas.microsoft.com/office/drawing/2014/main" id="{4406796A-ABB9-E50B-3E69-6E8D0109C4A7}"/>
              </a:ext>
            </a:extLst>
          </p:cNvPr>
          <p:cNvGrpSpPr>
            <a:grpSpLocks noChangeAspect="1"/>
          </p:cNvGrpSpPr>
          <p:nvPr userDrawn="1"/>
        </p:nvGrpSpPr>
        <p:grpSpPr>
          <a:xfrm>
            <a:off x="9560283" y="6247999"/>
            <a:ext cx="1869482" cy="292608"/>
            <a:chOff x="9444187" y="508520"/>
            <a:chExt cx="2339198" cy="366127"/>
          </a:xfrm>
        </p:grpSpPr>
        <p:pic>
          <p:nvPicPr>
            <p:cNvPr id="11" name="object 4">
              <a:extLst>
                <a:ext uri="{FF2B5EF4-FFF2-40B4-BE49-F238E27FC236}">
                  <a16:creationId xmlns:a16="http://schemas.microsoft.com/office/drawing/2014/main" id="{26AB93F0-5A14-2CFC-A421-C3C270E21A2E}"/>
                </a:ext>
              </a:extLst>
            </p:cNvPr>
            <p:cNvPicPr/>
            <p:nvPr/>
          </p:nvPicPr>
          <p:blipFill>
            <a:blip r:embed="rId2" cstate="print"/>
            <a:stretch>
              <a:fillRect/>
            </a:stretch>
          </p:blipFill>
          <p:spPr>
            <a:xfrm>
              <a:off x="9444187" y="568546"/>
              <a:ext cx="1372592" cy="246070"/>
            </a:xfrm>
            <a:prstGeom prst="rect">
              <a:avLst/>
            </a:prstGeom>
          </p:spPr>
        </p:pic>
        <p:sp>
          <p:nvSpPr>
            <p:cNvPr id="12" name="object 10">
              <a:extLst>
                <a:ext uri="{FF2B5EF4-FFF2-40B4-BE49-F238E27FC236}">
                  <a16:creationId xmlns:a16="http://schemas.microsoft.com/office/drawing/2014/main" id="{2E00388A-2160-AA61-F3A4-981D47EB9A91}"/>
                </a:ext>
              </a:extLst>
            </p:cNvPr>
            <p:cNvSpPr/>
            <p:nvPr/>
          </p:nvSpPr>
          <p:spPr>
            <a:xfrm>
              <a:off x="10956631" y="508520"/>
              <a:ext cx="0" cy="366127"/>
            </a:xfrm>
            <a:custGeom>
              <a:avLst/>
              <a:gdLst/>
              <a:ahLst/>
              <a:cxnLst/>
              <a:rect l="l" t="t" r="r" b="b"/>
              <a:pathLst>
                <a:path h="603885">
                  <a:moveTo>
                    <a:pt x="0" y="0"/>
                  </a:moveTo>
                  <a:lnTo>
                    <a:pt x="0" y="603876"/>
                  </a:lnTo>
                </a:path>
              </a:pathLst>
            </a:custGeom>
            <a:ln w="8481">
              <a:solidFill>
                <a:srgbClr val="FFFFFF"/>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Real Text Pro"/>
                <a:ea typeface="+mn-ea"/>
                <a:cs typeface="+mn-cs"/>
              </a:endParaRPr>
            </a:p>
          </p:txBody>
        </p:sp>
        <p:pic>
          <p:nvPicPr>
            <p:cNvPr id="13" name="object 24">
              <a:extLst>
                <a:ext uri="{FF2B5EF4-FFF2-40B4-BE49-F238E27FC236}">
                  <a16:creationId xmlns:a16="http://schemas.microsoft.com/office/drawing/2014/main" id="{74E23A61-D7A2-27E1-6362-4ABA02C84F6A}"/>
                </a:ext>
              </a:extLst>
            </p:cNvPr>
            <p:cNvPicPr/>
            <p:nvPr/>
          </p:nvPicPr>
          <p:blipFill>
            <a:blip r:embed="rId3" cstate="print"/>
            <a:srcRect t="2" r="8299" b="42551"/>
            <a:stretch/>
          </p:blipFill>
          <p:spPr>
            <a:xfrm>
              <a:off x="11109501" y="589948"/>
              <a:ext cx="673884" cy="185327"/>
            </a:xfrm>
            <a:prstGeom prst="rect">
              <a:avLst/>
            </a:prstGeom>
          </p:spPr>
        </p:pic>
      </p:grpSp>
    </p:spTree>
    <p:extLst>
      <p:ext uri="{BB962C8B-B14F-4D97-AF65-F5344CB8AC3E}">
        <p14:creationId xmlns:p14="http://schemas.microsoft.com/office/powerpoint/2010/main" val="27131598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9_Title with Overlay">
    <p:bg>
      <p:bgPr>
        <a:solidFill>
          <a:schemeClr val="tx2"/>
        </a:solidFill>
        <a:effectLst/>
      </p:bgPr>
    </p:bg>
    <p:spTree>
      <p:nvGrpSpPr>
        <p:cNvPr id="1" name=""/>
        <p:cNvGrpSpPr/>
        <p:nvPr/>
      </p:nvGrpSpPr>
      <p:grpSpPr>
        <a:xfrm>
          <a:off x="0" y="0"/>
          <a:ext cx="0" cy="0"/>
          <a:chOff x="0" y="0"/>
          <a:chExt cx="0" cy="0"/>
        </a:xfrm>
      </p:grpSpPr>
      <p:sp>
        <p:nvSpPr>
          <p:cNvPr id="25" name="Date Placeholder 24">
            <a:extLst>
              <a:ext uri="{FF2B5EF4-FFF2-40B4-BE49-F238E27FC236}">
                <a16:creationId xmlns:a16="http://schemas.microsoft.com/office/drawing/2014/main" id="{A57172BC-5EB5-C0CF-6CC0-97CFD6F72CB5}"/>
              </a:ext>
            </a:extLst>
          </p:cNvPr>
          <p:cNvSpPr>
            <a:spLocks noGrp="1"/>
          </p:cNvSpPr>
          <p:nvPr>
            <p:ph type="dt" sz="half" idx="10"/>
          </p:nvPr>
        </p:nvSpPr>
        <p:spPr/>
        <p:txBody>
          <a:bodyPr/>
          <a:lstStyle/>
          <a:p>
            <a:fld id="{37C97C5C-51A1-4CF1-893C-6F4FBB206C3F}" type="datetime1">
              <a:rPr lang="en-US" smtClean="0"/>
              <a:t>4/2/2025</a:t>
            </a:fld>
            <a:endParaRPr lang="en-US"/>
          </a:p>
        </p:txBody>
      </p:sp>
      <p:sp>
        <p:nvSpPr>
          <p:cNvPr id="26" name="Footer Placeholder 25">
            <a:extLst>
              <a:ext uri="{FF2B5EF4-FFF2-40B4-BE49-F238E27FC236}">
                <a16:creationId xmlns:a16="http://schemas.microsoft.com/office/drawing/2014/main" id="{92257F35-DE6E-9549-6ECF-1D42BE651129}"/>
              </a:ext>
            </a:extLst>
          </p:cNvPr>
          <p:cNvSpPr>
            <a:spLocks noGrp="1"/>
          </p:cNvSpPr>
          <p:nvPr>
            <p:ph type="ftr" sz="quarter" idx="11"/>
          </p:nvPr>
        </p:nvSpPr>
        <p:spPr/>
        <p:txBody>
          <a:bodyPr/>
          <a:lstStyle/>
          <a:p>
            <a:endParaRPr lang="en-US"/>
          </a:p>
        </p:txBody>
      </p:sp>
      <p:pic>
        <p:nvPicPr>
          <p:cNvPr id="4" name="object 4">
            <a:extLst>
              <a:ext uri="{FF2B5EF4-FFF2-40B4-BE49-F238E27FC236}">
                <a16:creationId xmlns:a16="http://schemas.microsoft.com/office/drawing/2014/main" id="{6B47318C-4C7C-9AC6-7295-C82E7586571D}"/>
              </a:ext>
            </a:extLst>
          </p:cNvPr>
          <p:cNvPicPr/>
          <p:nvPr/>
        </p:nvPicPr>
        <p:blipFill>
          <a:blip r:embed="rId2" cstate="print">
            <a:extLst>
              <a:ext uri="{BEBA8EAE-BF5A-486C-A8C5-ECC9F3942E4B}">
                <a14:imgProps xmlns:a14="http://schemas.microsoft.com/office/drawing/2010/main">
                  <a14:imgLayer r:embed="rId3">
                    <a14:imgEffect>
                      <a14:saturation sat="248000"/>
                    </a14:imgEffect>
                    <a14:imgEffect>
                      <a14:brightnessContrast bright="-39000"/>
                    </a14:imgEffect>
                  </a14:imgLayer>
                </a14:imgProps>
              </a:ext>
            </a:extLst>
          </a:blip>
          <a:stretch>
            <a:fillRect/>
          </a:stretch>
        </p:blipFill>
        <p:spPr>
          <a:xfrm>
            <a:off x="-8365" y="1785"/>
            <a:ext cx="12188825" cy="6856215"/>
          </a:xfrm>
          <a:prstGeom prst="rect">
            <a:avLst/>
          </a:prstGeom>
        </p:spPr>
      </p:pic>
      <p:sp>
        <p:nvSpPr>
          <p:cNvPr id="5" name="object 5">
            <a:extLst>
              <a:ext uri="{FF2B5EF4-FFF2-40B4-BE49-F238E27FC236}">
                <a16:creationId xmlns:a16="http://schemas.microsoft.com/office/drawing/2014/main" id="{67A66EC3-1C95-4734-B2D5-580258F8E8C3}"/>
              </a:ext>
            </a:extLst>
          </p:cNvPr>
          <p:cNvSpPr/>
          <p:nvPr/>
        </p:nvSpPr>
        <p:spPr>
          <a:xfrm>
            <a:off x="16343" y="4520"/>
            <a:ext cx="12188826" cy="6856312"/>
          </a:xfrm>
          <a:custGeom>
            <a:avLst/>
            <a:gdLst/>
            <a:ahLst/>
            <a:cxnLst/>
            <a:rect l="l" t="t" r="r" b="b"/>
            <a:pathLst>
              <a:path w="20104100" h="11308715">
                <a:moveTo>
                  <a:pt x="20104100" y="0"/>
                </a:moveTo>
                <a:lnTo>
                  <a:pt x="0" y="0"/>
                </a:lnTo>
                <a:lnTo>
                  <a:pt x="0" y="11308556"/>
                </a:lnTo>
                <a:lnTo>
                  <a:pt x="20104100" y="11308556"/>
                </a:lnTo>
                <a:lnTo>
                  <a:pt x="20104100" y="0"/>
                </a:lnTo>
                <a:close/>
              </a:path>
            </a:pathLst>
          </a:custGeom>
          <a:solidFill>
            <a:srgbClr val="A3AFB8">
              <a:alpha val="10000"/>
            </a:srgbClr>
          </a:solidFill>
        </p:spPr>
        <p:txBody>
          <a:bodyPr wrap="square" lIns="0" tIns="0" rIns="0" bIns="0" rtlCol="0"/>
          <a:lstStyle/>
          <a:p>
            <a:endParaRPr/>
          </a:p>
        </p:txBody>
      </p:sp>
      <p:pic>
        <p:nvPicPr>
          <p:cNvPr id="6" name="object 6">
            <a:extLst>
              <a:ext uri="{FF2B5EF4-FFF2-40B4-BE49-F238E27FC236}">
                <a16:creationId xmlns:a16="http://schemas.microsoft.com/office/drawing/2014/main" id="{A3B608DA-4897-AE5C-BF4F-4699CDEF9782}"/>
              </a:ext>
            </a:extLst>
          </p:cNvPr>
          <p:cNvPicPr/>
          <p:nvPr/>
        </p:nvPicPr>
        <p:blipFill>
          <a:blip r:embed="rId4" cstate="print">
            <a:alphaModFix amt="30000"/>
          </a:blip>
          <a:srcRect b="50000"/>
          <a:stretch/>
        </p:blipFill>
        <p:spPr>
          <a:xfrm>
            <a:off x="-13167" y="-3105"/>
            <a:ext cx="12188824" cy="6918255"/>
          </a:xfrm>
          <a:prstGeom prst="rect">
            <a:avLst/>
          </a:prstGeom>
        </p:spPr>
      </p:pic>
      <p:sp>
        <p:nvSpPr>
          <p:cNvPr id="19" name="Slide Number Box">
            <a:extLst>
              <a:ext uri="{FF2B5EF4-FFF2-40B4-BE49-F238E27FC236}">
                <a16:creationId xmlns:a16="http://schemas.microsoft.com/office/drawing/2014/main" id="{E4D665D4-9456-4BFE-7EC3-05AB4B0AE735}"/>
              </a:ext>
            </a:extLst>
          </p:cNvPr>
          <p:cNvSpPr txBox="1"/>
          <p:nvPr userDrawn="1"/>
        </p:nvSpPr>
        <p:spPr>
          <a:xfrm>
            <a:off x="11566535" y="6234575"/>
            <a:ext cx="279503" cy="283464"/>
          </a:xfrm>
          <a:prstGeom prst="rect">
            <a:avLst/>
          </a:prstGeom>
          <a:solidFill>
            <a:srgbClr val="FFD700"/>
          </a:solidFill>
        </p:spPr>
        <p:txBody>
          <a:bodyPr vert="horz" wrap="square" lIns="0" tIns="38884" rIns="0" bIns="0" rtlCol="0">
            <a:spAutoFit/>
          </a:bodyPr>
          <a:lstStyle/>
          <a:p>
            <a:pPr marL="55825" algn="ctr">
              <a:spcBef>
                <a:spcPts val="306"/>
              </a:spcBef>
            </a:pPr>
            <a:endParaRPr sz="1182">
              <a:latin typeface="Real Head Pro"/>
              <a:cs typeface="Real Head Pro"/>
            </a:endParaRPr>
          </a:p>
        </p:txBody>
      </p:sp>
      <p:sp>
        <p:nvSpPr>
          <p:cNvPr id="29" name="Slide Number Placeholder 29">
            <a:extLst>
              <a:ext uri="{FF2B5EF4-FFF2-40B4-BE49-F238E27FC236}">
                <a16:creationId xmlns:a16="http://schemas.microsoft.com/office/drawing/2014/main" id="{6E382458-B723-C4B9-E69F-E964EF9F325C}"/>
              </a:ext>
            </a:extLst>
          </p:cNvPr>
          <p:cNvSpPr>
            <a:spLocks noGrp="1"/>
          </p:cNvSpPr>
          <p:nvPr userDrawn="1">
            <p:ph type="sldNum" sz="quarter" idx="12"/>
          </p:nvPr>
        </p:nvSpPr>
        <p:spPr>
          <a:xfrm>
            <a:off x="11562574" y="6234576"/>
            <a:ext cx="283464" cy="283464"/>
          </a:xfrm>
        </p:spPr>
        <p:txBody>
          <a:bodyPr/>
          <a:lstStyle/>
          <a:p>
            <a:fld id="{FF7D9A68-EC15-4B1F-850C-8A6CCAFA90D8}" type="slidenum">
              <a:rPr lang="en-US" smtClean="0"/>
              <a:pPr/>
              <a:t>‹#›</a:t>
            </a:fld>
            <a:endParaRPr lang="en-US"/>
          </a:p>
        </p:txBody>
      </p:sp>
      <p:sp>
        <p:nvSpPr>
          <p:cNvPr id="24" name="Title 23">
            <a:extLst>
              <a:ext uri="{FF2B5EF4-FFF2-40B4-BE49-F238E27FC236}">
                <a16:creationId xmlns:a16="http://schemas.microsoft.com/office/drawing/2014/main" id="{CEBB91A9-6F0E-2D55-308F-665EE784ADE5}"/>
              </a:ext>
            </a:extLst>
          </p:cNvPr>
          <p:cNvSpPr>
            <a:spLocks noGrp="1"/>
          </p:cNvSpPr>
          <p:nvPr userDrawn="1">
            <p:ph type="title"/>
          </p:nvPr>
        </p:nvSpPr>
        <p:spPr/>
        <p:txBody>
          <a:bodyPr anchor="ctr"/>
          <a:lstStyle>
            <a:lvl1pPr>
              <a:defRPr>
                <a:solidFill>
                  <a:schemeClr val="bg1"/>
                </a:solidFill>
              </a:defRPr>
            </a:lvl1pPr>
          </a:lstStyle>
          <a:p>
            <a:r>
              <a:rPr lang="en-US"/>
              <a:t>Click to edit Master title style</a:t>
            </a:r>
          </a:p>
        </p:txBody>
      </p:sp>
      <p:pic>
        <p:nvPicPr>
          <p:cNvPr id="3" name="Graphic 2">
            <a:extLst>
              <a:ext uri="{FF2B5EF4-FFF2-40B4-BE49-F238E27FC236}">
                <a16:creationId xmlns:a16="http://schemas.microsoft.com/office/drawing/2014/main" id="{8F72E680-3130-5978-71DE-5A41A2299AD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0755910" y="6285404"/>
            <a:ext cx="706755" cy="192024"/>
          </a:xfrm>
          <a:prstGeom prst="rect">
            <a:avLst/>
          </a:prstGeom>
        </p:spPr>
      </p:pic>
    </p:spTree>
    <p:extLst>
      <p:ext uri="{BB962C8B-B14F-4D97-AF65-F5344CB8AC3E}">
        <p14:creationId xmlns:p14="http://schemas.microsoft.com/office/powerpoint/2010/main" val="126899258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6_Tech Background Image">
    <p:bg>
      <p:bgPr>
        <a:solidFill>
          <a:schemeClr val="accent1"/>
        </a:solidFill>
        <a:effectLst/>
      </p:bgPr>
    </p:bg>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29D9B89B-6C49-FE14-4CC5-06BF022C9EFD}"/>
              </a:ext>
            </a:extLst>
          </p:cNvPr>
          <p:cNvPicPr>
            <a:picLocks noChangeAspect="1" noChangeArrowheads="1"/>
          </p:cNvPicPr>
          <p:nvPr userDrawn="1"/>
        </p:nvPicPr>
        <p:blipFill rotWithShape="1">
          <a:blip r:embed="rId2">
            <a:alphaModFix amt="25000"/>
            <a:extLst>
              <a:ext uri="{28A0092B-C50C-407E-A947-70E740481C1C}">
                <a14:useLocalDpi xmlns:a14="http://schemas.microsoft.com/office/drawing/2010/main" val="0"/>
              </a:ext>
            </a:extLst>
          </a:blip>
          <a:srcRect l="10754" t="14777" r="10573" b="6513"/>
          <a:stretch/>
        </p:blipFill>
        <p:spPr bwMode="auto">
          <a:xfrm>
            <a:off x="1588" y="0"/>
            <a:ext cx="12188824" cy="6858000"/>
          </a:xfrm>
          <a:prstGeom prst="rect">
            <a:avLst/>
          </a:prstGeom>
          <a:noFill/>
          <a:extLst>
            <a:ext uri="{909E8E84-426E-40DD-AFC4-6F175D3DCCD1}">
              <a14:hiddenFill xmlns:a14="http://schemas.microsoft.com/office/drawing/2010/main">
                <a:solidFill>
                  <a:srgbClr val="FFFFFF"/>
                </a:solidFill>
              </a14:hiddenFill>
            </a:ext>
          </a:extLst>
        </p:spPr>
      </p:pic>
      <p:pic>
        <p:nvPicPr>
          <p:cNvPr id="7" name="object 6">
            <a:extLst>
              <a:ext uri="{FF2B5EF4-FFF2-40B4-BE49-F238E27FC236}">
                <a16:creationId xmlns:a16="http://schemas.microsoft.com/office/drawing/2014/main" id="{AE39237E-7A8D-CC3A-789F-2C0F7108819C}"/>
              </a:ext>
            </a:extLst>
          </p:cNvPr>
          <p:cNvPicPr/>
          <p:nvPr userDrawn="1"/>
        </p:nvPicPr>
        <p:blipFill>
          <a:blip r:embed="rId3" cstate="print">
            <a:alphaModFix amt="15000"/>
          </a:blip>
          <a:stretch>
            <a:fillRect/>
          </a:stretch>
        </p:blipFill>
        <p:spPr>
          <a:xfrm>
            <a:off x="0" y="0"/>
            <a:ext cx="12344400" cy="7009507"/>
          </a:xfrm>
          <a:prstGeom prst="rect">
            <a:avLst/>
          </a:prstGeom>
        </p:spPr>
      </p:pic>
      <p:pic>
        <p:nvPicPr>
          <p:cNvPr id="6" name="object 6">
            <a:extLst>
              <a:ext uri="{FF2B5EF4-FFF2-40B4-BE49-F238E27FC236}">
                <a16:creationId xmlns:a16="http://schemas.microsoft.com/office/drawing/2014/main" id="{9708983F-1698-E50D-7FA5-483DE66E4A6A}"/>
              </a:ext>
            </a:extLst>
          </p:cNvPr>
          <p:cNvPicPr/>
          <p:nvPr userDrawn="1"/>
        </p:nvPicPr>
        <p:blipFill>
          <a:blip r:embed="rId3" cstate="print">
            <a:alphaModFix amt="15000"/>
          </a:blip>
          <a:stretch>
            <a:fillRect/>
          </a:stretch>
        </p:blipFill>
        <p:spPr>
          <a:xfrm>
            <a:off x="0" y="1786"/>
            <a:ext cx="12188824" cy="6856214"/>
          </a:xfrm>
          <a:prstGeom prst="rect">
            <a:avLst/>
          </a:prstGeom>
        </p:spPr>
      </p:pic>
      <p:sp>
        <p:nvSpPr>
          <p:cNvPr id="2" name="Title 1">
            <a:extLst>
              <a:ext uri="{FF2B5EF4-FFF2-40B4-BE49-F238E27FC236}">
                <a16:creationId xmlns:a16="http://schemas.microsoft.com/office/drawing/2014/main" id="{8B7410AC-AD64-E7AB-9C75-4011FECA552E}"/>
              </a:ext>
            </a:extLst>
          </p:cNvPr>
          <p:cNvSpPr>
            <a:spLocks noGrp="1"/>
          </p:cNvSpPr>
          <p:nvPr>
            <p:ph type="title"/>
          </p:nvPr>
        </p:nvSpPr>
        <p:spPr/>
        <p:txBody>
          <a:bodyPr anchor="ct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5F0C5D14-38AD-28B4-69C1-23A1DC77784E}"/>
              </a:ext>
            </a:extLst>
          </p:cNvPr>
          <p:cNvSpPr>
            <a:spLocks noGrp="1"/>
          </p:cNvSpPr>
          <p:nvPr>
            <p:ph type="dt" sz="half" idx="10"/>
          </p:nvPr>
        </p:nvSpPr>
        <p:spPr/>
        <p:txBody>
          <a:bodyPr/>
          <a:lstStyle/>
          <a:p>
            <a:fld id="{0FA80E76-16DC-4217-82F7-2241F6A8A725}" type="datetime1">
              <a:rPr lang="en-US" smtClean="0"/>
              <a:t>4/2/2025</a:t>
            </a:fld>
            <a:endParaRPr lang="en-US"/>
          </a:p>
        </p:txBody>
      </p:sp>
      <p:sp>
        <p:nvSpPr>
          <p:cNvPr id="4" name="Footer Placeholder 3">
            <a:extLst>
              <a:ext uri="{FF2B5EF4-FFF2-40B4-BE49-F238E27FC236}">
                <a16:creationId xmlns:a16="http://schemas.microsoft.com/office/drawing/2014/main" id="{EA640E17-A7E4-A9D8-6E13-2A5E89BB1703}"/>
              </a:ext>
            </a:extLst>
          </p:cNvPr>
          <p:cNvSpPr>
            <a:spLocks noGrp="1"/>
          </p:cNvSpPr>
          <p:nvPr>
            <p:ph type="ftr" sz="quarter" idx="11"/>
          </p:nvPr>
        </p:nvSpPr>
        <p:spPr/>
        <p:txBody>
          <a:bodyPr/>
          <a:lstStyle/>
          <a:p>
            <a:endParaRPr lang="en-US"/>
          </a:p>
        </p:txBody>
      </p:sp>
      <p:sp>
        <p:nvSpPr>
          <p:cNvPr id="20" name="Slide Number Box">
            <a:extLst>
              <a:ext uri="{FF2B5EF4-FFF2-40B4-BE49-F238E27FC236}">
                <a16:creationId xmlns:a16="http://schemas.microsoft.com/office/drawing/2014/main" id="{D9C7A0F6-5910-C0B5-199D-DAA68A4E026F}"/>
              </a:ext>
            </a:extLst>
          </p:cNvPr>
          <p:cNvSpPr txBox="1"/>
          <p:nvPr userDrawn="1"/>
        </p:nvSpPr>
        <p:spPr>
          <a:xfrm>
            <a:off x="11566535" y="6234575"/>
            <a:ext cx="279503" cy="283464"/>
          </a:xfrm>
          <a:prstGeom prst="rect">
            <a:avLst/>
          </a:prstGeom>
          <a:solidFill>
            <a:srgbClr val="FFD700"/>
          </a:solidFill>
        </p:spPr>
        <p:txBody>
          <a:bodyPr vert="horz" wrap="square" lIns="0" tIns="38884" rIns="0" bIns="0" rtlCol="0">
            <a:spAutoFit/>
          </a:bodyPr>
          <a:lstStyle/>
          <a:p>
            <a:pPr marL="55825" algn="ctr">
              <a:spcBef>
                <a:spcPts val="306"/>
              </a:spcBef>
            </a:pPr>
            <a:endParaRPr sz="1182">
              <a:latin typeface="Real Head Pro"/>
              <a:cs typeface="Real Head Pro"/>
            </a:endParaRPr>
          </a:p>
        </p:txBody>
      </p:sp>
      <p:sp>
        <p:nvSpPr>
          <p:cNvPr id="5" name="Slide Number Placeholder 4">
            <a:extLst>
              <a:ext uri="{FF2B5EF4-FFF2-40B4-BE49-F238E27FC236}">
                <a16:creationId xmlns:a16="http://schemas.microsoft.com/office/drawing/2014/main" id="{7457052D-6E27-FBC0-A40D-D914851C4C3C}"/>
              </a:ext>
            </a:extLst>
          </p:cNvPr>
          <p:cNvSpPr>
            <a:spLocks noGrp="1"/>
          </p:cNvSpPr>
          <p:nvPr>
            <p:ph type="sldNum" sz="quarter" idx="12"/>
          </p:nvPr>
        </p:nvSpPr>
        <p:spPr/>
        <p:txBody>
          <a:bodyPr/>
          <a:lstStyle/>
          <a:p>
            <a:fld id="{FF7D9A68-EC15-4B1F-850C-8A6CCAFA90D8}" type="slidenum">
              <a:rPr lang="en-US" smtClean="0"/>
              <a:pPr/>
              <a:t>‹#›</a:t>
            </a:fld>
            <a:endParaRPr lang="en-US"/>
          </a:p>
        </p:txBody>
      </p:sp>
      <p:pic>
        <p:nvPicPr>
          <p:cNvPr id="8" name="Graphic 7">
            <a:extLst>
              <a:ext uri="{FF2B5EF4-FFF2-40B4-BE49-F238E27FC236}">
                <a16:creationId xmlns:a16="http://schemas.microsoft.com/office/drawing/2014/main" id="{630F1DBA-1688-B47C-928D-6268E4BE6B2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0755910" y="6285404"/>
            <a:ext cx="706755" cy="192024"/>
          </a:xfrm>
          <a:prstGeom prst="rect">
            <a:avLst/>
          </a:prstGeom>
        </p:spPr>
      </p:pic>
    </p:spTree>
    <p:extLst>
      <p:ext uri="{BB962C8B-B14F-4D97-AF65-F5344CB8AC3E}">
        <p14:creationId xmlns:p14="http://schemas.microsoft.com/office/powerpoint/2010/main" val="292405116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6_Title and Eyebrow with graphic Dark">
    <p:bg>
      <p:bgPr>
        <a:solidFill>
          <a:schemeClr val="tx2"/>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C16F05C-4BB9-7C82-C709-68EA2F74B897}"/>
              </a:ext>
            </a:extLst>
          </p:cNvPr>
          <p:cNvSpPr>
            <a:spLocks noGrp="1"/>
          </p:cNvSpPr>
          <p:nvPr>
            <p:ph type="dt" sz="half" idx="10"/>
          </p:nvPr>
        </p:nvSpPr>
        <p:spPr/>
        <p:txBody>
          <a:bodyPr/>
          <a:lstStyle/>
          <a:p>
            <a:fld id="{25C5368F-9A74-48DE-A73B-941C9E569E03}" type="datetime1">
              <a:rPr lang="en-US" smtClean="0"/>
              <a:t>4/2/2025</a:t>
            </a:fld>
            <a:endParaRPr lang="en-US"/>
          </a:p>
        </p:txBody>
      </p:sp>
      <p:sp>
        <p:nvSpPr>
          <p:cNvPr id="4" name="Footer Placeholder 3">
            <a:extLst>
              <a:ext uri="{FF2B5EF4-FFF2-40B4-BE49-F238E27FC236}">
                <a16:creationId xmlns:a16="http://schemas.microsoft.com/office/drawing/2014/main" id="{B562C211-B566-11DA-A38D-906051586563}"/>
              </a:ext>
            </a:extLst>
          </p:cNvPr>
          <p:cNvSpPr>
            <a:spLocks noGrp="1"/>
          </p:cNvSpPr>
          <p:nvPr>
            <p:ph type="ftr" sz="quarter" idx="11"/>
          </p:nvPr>
        </p:nvSpPr>
        <p:spPr/>
        <p:txBody>
          <a:bodyPr/>
          <a:lstStyle/>
          <a:p>
            <a:endParaRPr lang="en-US"/>
          </a:p>
        </p:txBody>
      </p:sp>
      <p:sp>
        <p:nvSpPr>
          <p:cNvPr id="6" name="object 24">
            <a:extLst>
              <a:ext uri="{FF2B5EF4-FFF2-40B4-BE49-F238E27FC236}">
                <a16:creationId xmlns:a16="http://schemas.microsoft.com/office/drawing/2014/main" id="{E5F920B2-E5F2-B5E1-9A23-2C5EE88B6F55}"/>
              </a:ext>
            </a:extLst>
          </p:cNvPr>
          <p:cNvSpPr/>
          <p:nvPr userDrawn="1"/>
        </p:nvSpPr>
        <p:spPr>
          <a:xfrm>
            <a:off x="1588" y="343463"/>
            <a:ext cx="152457" cy="6170641"/>
          </a:xfrm>
          <a:custGeom>
            <a:avLst/>
            <a:gdLst/>
            <a:ahLst/>
            <a:cxnLst/>
            <a:rect l="l" t="t" r="r" b="b"/>
            <a:pathLst>
              <a:path w="251460" h="10177780">
                <a:moveTo>
                  <a:pt x="251301" y="0"/>
                </a:moveTo>
                <a:lnTo>
                  <a:pt x="0" y="0"/>
                </a:lnTo>
                <a:lnTo>
                  <a:pt x="0" y="10177700"/>
                </a:lnTo>
                <a:lnTo>
                  <a:pt x="251301" y="10177700"/>
                </a:lnTo>
                <a:lnTo>
                  <a:pt x="251301" y="0"/>
                </a:lnTo>
                <a:close/>
              </a:path>
            </a:pathLst>
          </a:custGeom>
          <a:solidFill>
            <a:schemeClr val="accent4"/>
          </a:solidFill>
        </p:spPr>
        <p:txBody>
          <a:bodyPr wrap="square" lIns="0" tIns="0" rIns="0" bIns="0" rtlCol="0"/>
          <a:lstStyle/>
          <a:p>
            <a:endParaRPr kern="0">
              <a:solidFill>
                <a:sysClr val="windowText" lastClr="000000"/>
              </a:solidFill>
            </a:endParaRPr>
          </a:p>
        </p:txBody>
      </p:sp>
      <p:sp>
        <p:nvSpPr>
          <p:cNvPr id="7" name="Text Placeholder 32">
            <a:extLst>
              <a:ext uri="{FF2B5EF4-FFF2-40B4-BE49-F238E27FC236}">
                <a16:creationId xmlns:a16="http://schemas.microsoft.com/office/drawing/2014/main" id="{76176889-EC90-7074-D8BD-FB8FBFBCB343}"/>
              </a:ext>
            </a:extLst>
          </p:cNvPr>
          <p:cNvSpPr>
            <a:spLocks noGrp="1"/>
          </p:cNvSpPr>
          <p:nvPr>
            <p:ph type="body" sz="quarter" idx="14" hasCustomPrompt="1"/>
          </p:nvPr>
        </p:nvSpPr>
        <p:spPr>
          <a:xfrm>
            <a:off x="763623" y="789856"/>
            <a:ext cx="10972800" cy="457200"/>
          </a:xfrm>
        </p:spPr>
        <p:txBody>
          <a:bodyPr anchor="b"/>
          <a:lstStyle>
            <a:lvl1pPr marL="0" indent="0">
              <a:spcBef>
                <a:spcPts val="0"/>
              </a:spcBef>
              <a:buNone/>
              <a:defRPr sz="3150">
                <a:solidFill>
                  <a:schemeClr val="bg2"/>
                </a:solidFill>
                <a:latin typeface="+mj-lt"/>
              </a:defRPr>
            </a:lvl1pPr>
          </a:lstStyle>
          <a:p>
            <a:pPr lvl="0"/>
            <a:r>
              <a:rPr lang="en-US"/>
              <a:t>Heading</a:t>
            </a:r>
          </a:p>
        </p:txBody>
      </p:sp>
      <p:sp>
        <p:nvSpPr>
          <p:cNvPr id="2" name="Text Placeholder 9">
            <a:extLst>
              <a:ext uri="{FF2B5EF4-FFF2-40B4-BE49-F238E27FC236}">
                <a16:creationId xmlns:a16="http://schemas.microsoft.com/office/drawing/2014/main" id="{892A23AA-62D6-9D6B-93E6-E42206E7374A}"/>
              </a:ext>
            </a:extLst>
          </p:cNvPr>
          <p:cNvSpPr>
            <a:spLocks noGrp="1"/>
          </p:cNvSpPr>
          <p:nvPr>
            <p:ph type="body" sz="quarter" idx="15"/>
          </p:nvPr>
        </p:nvSpPr>
        <p:spPr>
          <a:xfrm>
            <a:off x="763623" y="332656"/>
            <a:ext cx="10972800" cy="457200"/>
          </a:xfrm>
        </p:spPr>
        <p:txBody>
          <a:bodyPr/>
          <a:lstStyle>
            <a:lvl1pPr marL="0" indent="0">
              <a:buNone/>
              <a:defRPr sz="2400" b="0">
                <a:solidFill>
                  <a:schemeClr val="accent3"/>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8" name="Slide Number Box">
            <a:extLst>
              <a:ext uri="{FF2B5EF4-FFF2-40B4-BE49-F238E27FC236}">
                <a16:creationId xmlns:a16="http://schemas.microsoft.com/office/drawing/2014/main" id="{3DEAF9C8-A147-CF7A-E52D-4E24427CD53E}"/>
              </a:ext>
            </a:extLst>
          </p:cNvPr>
          <p:cNvSpPr txBox="1"/>
          <p:nvPr userDrawn="1"/>
        </p:nvSpPr>
        <p:spPr>
          <a:xfrm>
            <a:off x="11566535" y="6234575"/>
            <a:ext cx="279503" cy="283464"/>
          </a:xfrm>
          <a:prstGeom prst="rect">
            <a:avLst/>
          </a:prstGeom>
          <a:solidFill>
            <a:srgbClr val="FFD700"/>
          </a:solidFill>
        </p:spPr>
        <p:txBody>
          <a:bodyPr vert="horz" wrap="square" lIns="0" tIns="38884" rIns="0" bIns="0" rtlCol="0">
            <a:spAutoFit/>
          </a:bodyPr>
          <a:lstStyle/>
          <a:p>
            <a:pPr marL="55825" algn="ctr">
              <a:spcBef>
                <a:spcPts val="306"/>
              </a:spcBef>
            </a:pPr>
            <a:endParaRPr sz="1182">
              <a:latin typeface="Real Head Pro"/>
              <a:cs typeface="Real Head Pro"/>
            </a:endParaRPr>
          </a:p>
        </p:txBody>
      </p:sp>
      <p:sp>
        <p:nvSpPr>
          <p:cNvPr id="9" name="Slide Number Placeholder 4">
            <a:extLst>
              <a:ext uri="{FF2B5EF4-FFF2-40B4-BE49-F238E27FC236}">
                <a16:creationId xmlns:a16="http://schemas.microsoft.com/office/drawing/2014/main" id="{99D35B03-F698-8885-EB71-3D77B4BA4EE2}"/>
              </a:ext>
            </a:extLst>
          </p:cNvPr>
          <p:cNvSpPr>
            <a:spLocks noGrp="1"/>
          </p:cNvSpPr>
          <p:nvPr>
            <p:ph type="sldNum" sz="quarter" idx="12"/>
          </p:nvPr>
        </p:nvSpPr>
        <p:spPr>
          <a:xfrm>
            <a:off x="11562574" y="6234576"/>
            <a:ext cx="283464" cy="283464"/>
          </a:xfrm>
        </p:spPr>
        <p:txBody>
          <a:bodyPr/>
          <a:lstStyle/>
          <a:p>
            <a:fld id="{FF7D9A68-EC15-4B1F-850C-8A6CCAFA90D8}" type="slidenum">
              <a:rPr lang="en-US" smtClean="0"/>
              <a:pPr/>
              <a:t>‹#›</a:t>
            </a:fld>
            <a:endParaRPr lang="en-US"/>
          </a:p>
        </p:txBody>
      </p:sp>
      <p:sp>
        <p:nvSpPr>
          <p:cNvPr id="31" name="Slide Number Placeholder 4">
            <a:extLst>
              <a:ext uri="{FF2B5EF4-FFF2-40B4-BE49-F238E27FC236}">
                <a16:creationId xmlns:a16="http://schemas.microsoft.com/office/drawing/2014/main" id="{2B22392B-76DC-FD90-612E-48811F402E79}"/>
              </a:ext>
            </a:extLst>
          </p:cNvPr>
          <p:cNvSpPr txBox="1">
            <a:spLocks/>
          </p:cNvSpPr>
          <p:nvPr userDrawn="1"/>
        </p:nvSpPr>
        <p:spPr>
          <a:xfrm>
            <a:off x="11562574" y="6234576"/>
            <a:ext cx="283464" cy="283464"/>
          </a:xfrm>
          <a:prstGeom prst="rect">
            <a:avLst/>
          </a:prstGeom>
        </p:spPr>
        <p:txBody>
          <a:bodyPr vert="horz" wrap="none" lIns="0" tIns="0" rIns="0" bIns="0" rtlCol="0" anchor="ctr"/>
          <a:lstStyle>
            <a:defPPr>
              <a:defRPr lang="en-US"/>
            </a:defPPr>
            <a:lvl1pPr marL="0" algn="ctr" defTabSz="914400" rtl="0" eaLnBrk="1" latinLnBrk="0" hangingPunct="1">
              <a:defRPr sz="1180" b="1" kern="1200">
                <a:solidFill>
                  <a:schemeClr val="tx1">
                    <a:tint val="82000"/>
                  </a:schemeClr>
                </a:solidFill>
                <a:latin typeface="Real Head Pro" panose="020B05040202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pic>
        <p:nvPicPr>
          <p:cNvPr id="32" name="Graphic 31">
            <a:extLst>
              <a:ext uri="{FF2B5EF4-FFF2-40B4-BE49-F238E27FC236}">
                <a16:creationId xmlns:a16="http://schemas.microsoft.com/office/drawing/2014/main" id="{A8CDBF50-22E5-1C20-DA6F-5FD6F4F072D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55910" y="6285404"/>
            <a:ext cx="706755" cy="192024"/>
          </a:xfrm>
          <a:prstGeom prst="rect">
            <a:avLst/>
          </a:prstGeom>
        </p:spPr>
      </p:pic>
    </p:spTree>
    <p:extLst>
      <p:ext uri="{BB962C8B-B14F-4D97-AF65-F5344CB8AC3E}">
        <p14:creationId xmlns:p14="http://schemas.microsoft.com/office/powerpoint/2010/main" val="110768175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7_Title Subtitle and graphic - Dark">
    <p:bg>
      <p:bgPr>
        <a:solidFill>
          <a:schemeClr val="tx2"/>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C16F05C-4BB9-7C82-C709-68EA2F74B897}"/>
              </a:ext>
            </a:extLst>
          </p:cNvPr>
          <p:cNvSpPr>
            <a:spLocks noGrp="1"/>
          </p:cNvSpPr>
          <p:nvPr>
            <p:ph type="dt" sz="half" idx="10"/>
          </p:nvPr>
        </p:nvSpPr>
        <p:spPr/>
        <p:txBody>
          <a:bodyPr/>
          <a:lstStyle/>
          <a:p>
            <a:fld id="{B2B781B7-79EE-4A47-92F5-0A473CF0A488}" type="datetime1">
              <a:rPr lang="en-US" smtClean="0"/>
              <a:t>4/2/2025</a:t>
            </a:fld>
            <a:endParaRPr lang="en-US"/>
          </a:p>
        </p:txBody>
      </p:sp>
      <p:sp>
        <p:nvSpPr>
          <p:cNvPr id="4" name="Footer Placeholder 3">
            <a:extLst>
              <a:ext uri="{FF2B5EF4-FFF2-40B4-BE49-F238E27FC236}">
                <a16:creationId xmlns:a16="http://schemas.microsoft.com/office/drawing/2014/main" id="{B562C211-B566-11DA-A38D-906051586563}"/>
              </a:ext>
            </a:extLst>
          </p:cNvPr>
          <p:cNvSpPr>
            <a:spLocks noGrp="1"/>
          </p:cNvSpPr>
          <p:nvPr>
            <p:ph type="ftr" sz="quarter" idx="11"/>
          </p:nvPr>
        </p:nvSpPr>
        <p:spPr/>
        <p:txBody>
          <a:bodyPr/>
          <a:lstStyle/>
          <a:p>
            <a:endParaRPr lang="en-US"/>
          </a:p>
        </p:txBody>
      </p:sp>
      <p:sp>
        <p:nvSpPr>
          <p:cNvPr id="6" name="object 24">
            <a:extLst>
              <a:ext uri="{FF2B5EF4-FFF2-40B4-BE49-F238E27FC236}">
                <a16:creationId xmlns:a16="http://schemas.microsoft.com/office/drawing/2014/main" id="{E5F920B2-E5F2-B5E1-9A23-2C5EE88B6F55}"/>
              </a:ext>
            </a:extLst>
          </p:cNvPr>
          <p:cNvSpPr/>
          <p:nvPr userDrawn="1"/>
        </p:nvSpPr>
        <p:spPr>
          <a:xfrm>
            <a:off x="1588" y="343463"/>
            <a:ext cx="152457" cy="6170641"/>
          </a:xfrm>
          <a:custGeom>
            <a:avLst/>
            <a:gdLst/>
            <a:ahLst/>
            <a:cxnLst/>
            <a:rect l="l" t="t" r="r" b="b"/>
            <a:pathLst>
              <a:path w="251460" h="10177780">
                <a:moveTo>
                  <a:pt x="251301" y="0"/>
                </a:moveTo>
                <a:lnTo>
                  <a:pt x="0" y="0"/>
                </a:lnTo>
                <a:lnTo>
                  <a:pt x="0" y="10177700"/>
                </a:lnTo>
                <a:lnTo>
                  <a:pt x="251301" y="10177700"/>
                </a:lnTo>
                <a:lnTo>
                  <a:pt x="251301" y="0"/>
                </a:lnTo>
                <a:close/>
              </a:path>
            </a:pathLst>
          </a:custGeom>
          <a:solidFill>
            <a:schemeClr val="accent3"/>
          </a:solidFill>
        </p:spPr>
        <p:txBody>
          <a:bodyPr wrap="square" lIns="0" tIns="0" rIns="0" bIns="0" rtlCol="0"/>
          <a:lstStyle/>
          <a:p>
            <a:endParaRPr kern="0">
              <a:solidFill>
                <a:sysClr val="windowText" lastClr="000000"/>
              </a:solidFill>
            </a:endParaRPr>
          </a:p>
        </p:txBody>
      </p:sp>
      <p:sp>
        <p:nvSpPr>
          <p:cNvPr id="7" name="Text Placeholder 32">
            <a:extLst>
              <a:ext uri="{FF2B5EF4-FFF2-40B4-BE49-F238E27FC236}">
                <a16:creationId xmlns:a16="http://schemas.microsoft.com/office/drawing/2014/main" id="{76176889-EC90-7074-D8BD-FB8FBFBCB343}"/>
              </a:ext>
            </a:extLst>
          </p:cNvPr>
          <p:cNvSpPr>
            <a:spLocks noGrp="1"/>
          </p:cNvSpPr>
          <p:nvPr>
            <p:ph type="body" sz="quarter" idx="14" hasCustomPrompt="1"/>
          </p:nvPr>
        </p:nvSpPr>
        <p:spPr>
          <a:xfrm>
            <a:off x="763623" y="332656"/>
            <a:ext cx="8229600" cy="914400"/>
          </a:xfrm>
        </p:spPr>
        <p:txBody>
          <a:bodyPr anchor="b"/>
          <a:lstStyle>
            <a:lvl1pPr marL="0" indent="0">
              <a:spcBef>
                <a:spcPts val="0"/>
              </a:spcBef>
              <a:buNone/>
              <a:defRPr sz="3150">
                <a:solidFill>
                  <a:schemeClr val="bg1"/>
                </a:solidFill>
                <a:latin typeface="+mj-lt"/>
              </a:defRPr>
            </a:lvl1pPr>
          </a:lstStyle>
          <a:p>
            <a:pPr lvl="0"/>
            <a:r>
              <a:rPr lang="en-US"/>
              <a:t>Heading</a:t>
            </a:r>
          </a:p>
        </p:txBody>
      </p:sp>
      <p:sp>
        <p:nvSpPr>
          <p:cNvPr id="10" name="Text Placeholder 9">
            <a:extLst>
              <a:ext uri="{FF2B5EF4-FFF2-40B4-BE49-F238E27FC236}">
                <a16:creationId xmlns:a16="http://schemas.microsoft.com/office/drawing/2014/main" id="{37CFB753-B7D0-7691-BBDF-851034055F44}"/>
              </a:ext>
            </a:extLst>
          </p:cNvPr>
          <p:cNvSpPr>
            <a:spLocks noGrp="1"/>
          </p:cNvSpPr>
          <p:nvPr>
            <p:ph type="body" sz="quarter" idx="15"/>
          </p:nvPr>
        </p:nvSpPr>
        <p:spPr>
          <a:xfrm>
            <a:off x="763623" y="1304764"/>
            <a:ext cx="8229600" cy="457200"/>
          </a:xfrm>
        </p:spPr>
        <p:txBody>
          <a:bodyPr/>
          <a:lstStyle>
            <a:lvl1pPr marL="0" indent="0">
              <a:buNone/>
              <a:defRPr sz="2400" b="0">
                <a:solidFill>
                  <a:schemeClr val="accent3"/>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pic>
        <p:nvPicPr>
          <p:cNvPr id="2" name="Graphic 1">
            <a:extLst>
              <a:ext uri="{FF2B5EF4-FFF2-40B4-BE49-F238E27FC236}">
                <a16:creationId xmlns:a16="http://schemas.microsoft.com/office/drawing/2014/main" id="{BEA430D3-630F-F885-AB28-5DF9FBF8EDE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55910" y="6285404"/>
            <a:ext cx="706755" cy="192024"/>
          </a:xfrm>
          <a:prstGeom prst="rect">
            <a:avLst/>
          </a:prstGeom>
        </p:spPr>
      </p:pic>
    </p:spTree>
    <p:extLst>
      <p:ext uri="{BB962C8B-B14F-4D97-AF65-F5344CB8AC3E}">
        <p14:creationId xmlns:p14="http://schemas.microsoft.com/office/powerpoint/2010/main" val="37279667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itleOnly" preserve="1">
  <p:cSld name="6_Title Only and Grapic - Dark">
    <p:bg>
      <p:bgPr>
        <a:solidFill>
          <a:schemeClr val="tx2"/>
        </a:solidFill>
        <a:effectLst/>
      </p:bgPr>
    </p:bg>
    <p:spTree>
      <p:nvGrpSpPr>
        <p:cNvPr id="1" name=""/>
        <p:cNvGrpSpPr/>
        <p:nvPr/>
      </p:nvGrpSpPr>
      <p:grpSpPr>
        <a:xfrm>
          <a:off x="0" y="0"/>
          <a:ext cx="0" cy="0"/>
          <a:chOff x="0" y="0"/>
          <a:chExt cx="0" cy="0"/>
        </a:xfrm>
      </p:grpSpPr>
      <p:sp>
        <p:nvSpPr>
          <p:cNvPr id="7" name="Page Number">
            <a:extLst>
              <a:ext uri="{FF2B5EF4-FFF2-40B4-BE49-F238E27FC236}">
                <a16:creationId xmlns:a16="http://schemas.microsoft.com/office/drawing/2014/main" id="{8EE183D6-F853-D28F-DEF8-905FC1CA4927}"/>
              </a:ext>
            </a:extLst>
          </p:cNvPr>
          <p:cNvSpPr txBox="1"/>
          <p:nvPr userDrawn="1"/>
        </p:nvSpPr>
        <p:spPr>
          <a:xfrm>
            <a:off x="11566535" y="6234575"/>
            <a:ext cx="279503" cy="283464"/>
          </a:xfrm>
          <a:prstGeom prst="rect">
            <a:avLst/>
          </a:prstGeom>
          <a:solidFill>
            <a:srgbClr val="FFD700"/>
          </a:solidFill>
        </p:spPr>
        <p:txBody>
          <a:bodyPr vert="horz" wrap="square" lIns="0" tIns="38884" rIns="0" bIns="0" rtlCol="0">
            <a:spAutoFit/>
          </a:bodyPr>
          <a:lstStyle/>
          <a:p>
            <a:pPr marL="55825" algn="ctr">
              <a:spcBef>
                <a:spcPts val="306"/>
              </a:spcBef>
            </a:pPr>
            <a:endParaRPr sz="1182">
              <a:latin typeface="Real Head Pro"/>
              <a:cs typeface="Real Head Pro"/>
            </a:endParaRPr>
          </a:p>
        </p:txBody>
      </p:sp>
      <p:sp>
        <p:nvSpPr>
          <p:cNvPr id="2" name="Title 1">
            <a:extLst>
              <a:ext uri="{FF2B5EF4-FFF2-40B4-BE49-F238E27FC236}">
                <a16:creationId xmlns:a16="http://schemas.microsoft.com/office/drawing/2014/main" id="{0F485E03-52E8-3AF3-2238-DAC8C9B61935}"/>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8C16F05C-4BB9-7C82-C709-68EA2F74B897}"/>
              </a:ext>
            </a:extLst>
          </p:cNvPr>
          <p:cNvSpPr>
            <a:spLocks noGrp="1"/>
          </p:cNvSpPr>
          <p:nvPr>
            <p:ph type="dt" sz="half" idx="10"/>
          </p:nvPr>
        </p:nvSpPr>
        <p:spPr/>
        <p:txBody>
          <a:bodyPr/>
          <a:lstStyle>
            <a:lvl1pPr>
              <a:defRPr>
                <a:solidFill>
                  <a:schemeClr val="bg1"/>
                </a:solidFill>
              </a:defRPr>
            </a:lvl1pPr>
          </a:lstStyle>
          <a:p>
            <a:fld id="{5A8C7C5A-8E31-4665-BFCD-B5923CD9C743}" type="datetime1">
              <a:rPr lang="en-US" smtClean="0"/>
              <a:t>4/2/2025</a:t>
            </a:fld>
            <a:endParaRPr lang="en-US"/>
          </a:p>
        </p:txBody>
      </p:sp>
      <p:sp>
        <p:nvSpPr>
          <p:cNvPr id="4" name="Footer Placeholder 3">
            <a:extLst>
              <a:ext uri="{FF2B5EF4-FFF2-40B4-BE49-F238E27FC236}">
                <a16:creationId xmlns:a16="http://schemas.microsoft.com/office/drawing/2014/main" id="{B562C211-B566-11DA-A38D-906051586563}"/>
              </a:ext>
            </a:extLst>
          </p:cNvPr>
          <p:cNvSpPr>
            <a:spLocks noGrp="1"/>
          </p:cNvSpPr>
          <p:nvPr>
            <p:ph type="ftr" sz="quarter" idx="11"/>
          </p:nvPr>
        </p:nvSpPr>
        <p:spPr/>
        <p:txBody>
          <a:bodyPr/>
          <a:lstStyle>
            <a:lvl1pPr>
              <a:defRPr>
                <a:solidFill>
                  <a:schemeClr val="bg1"/>
                </a:solidFill>
              </a:defRPr>
            </a:lvl1pPr>
          </a:lstStyle>
          <a:p>
            <a:endParaRPr lang="en-US"/>
          </a:p>
        </p:txBody>
      </p:sp>
      <p:sp>
        <p:nvSpPr>
          <p:cNvPr id="5" name="Slide Number Placeholder 4">
            <a:extLst>
              <a:ext uri="{FF2B5EF4-FFF2-40B4-BE49-F238E27FC236}">
                <a16:creationId xmlns:a16="http://schemas.microsoft.com/office/drawing/2014/main" id="{A7048A19-F166-EDA1-0B00-A974B424E906}"/>
              </a:ext>
            </a:extLst>
          </p:cNvPr>
          <p:cNvSpPr>
            <a:spLocks noGrp="1"/>
          </p:cNvSpPr>
          <p:nvPr>
            <p:ph type="sldNum" sz="quarter" idx="12"/>
          </p:nvPr>
        </p:nvSpPr>
        <p:spPr/>
        <p:txBody>
          <a:bodyPr/>
          <a:lstStyle/>
          <a:p>
            <a:fld id="{FF7D9A68-EC15-4B1F-850C-8A6CCAFA90D8}" type="slidenum">
              <a:rPr lang="en-US" smtClean="0"/>
              <a:t>‹#›</a:t>
            </a:fld>
            <a:endParaRPr lang="en-US"/>
          </a:p>
        </p:txBody>
      </p:sp>
      <p:sp>
        <p:nvSpPr>
          <p:cNvPr id="6" name="object 24">
            <a:extLst>
              <a:ext uri="{FF2B5EF4-FFF2-40B4-BE49-F238E27FC236}">
                <a16:creationId xmlns:a16="http://schemas.microsoft.com/office/drawing/2014/main" id="{923F10B5-0EAF-6574-7B70-A5790ADE8361}"/>
              </a:ext>
            </a:extLst>
          </p:cNvPr>
          <p:cNvSpPr/>
          <p:nvPr userDrawn="1"/>
        </p:nvSpPr>
        <p:spPr>
          <a:xfrm>
            <a:off x="1588" y="343463"/>
            <a:ext cx="152457" cy="6170641"/>
          </a:xfrm>
          <a:custGeom>
            <a:avLst/>
            <a:gdLst/>
            <a:ahLst/>
            <a:cxnLst/>
            <a:rect l="l" t="t" r="r" b="b"/>
            <a:pathLst>
              <a:path w="251460" h="10177780">
                <a:moveTo>
                  <a:pt x="251301" y="0"/>
                </a:moveTo>
                <a:lnTo>
                  <a:pt x="0" y="0"/>
                </a:lnTo>
                <a:lnTo>
                  <a:pt x="0" y="10177700"/>
                </a:lnTo>
                <a:lnTo>
                  <a:pt x="251301" y="10177700"/>
                </a:lnTo>
                <a:lnTo>
                  <a:pt x="251301" y="0"/>
                </a:lnTo>
                <a:close/>
              </a:path>
            </a:pathLst>
          </a:custGeom>
          <a:solidFill>
            <a:schemeClr val="accent3"/>
          </a:solidFill>
        </p:spPr>
        <p:txBody>
          <a:bodyPr wrap="square" lIns="0" tIns="0" rIns="0" bIns="0" rtlCol="0"/>
          <a:lstStyle/>
          <a:p>
            <a:endParaRPr kern="0">
              <a:solidFill>
                <a:sysClr val="windowText" lastClr="000000"/>
              </a:solidFill>
            </a:endParaRPr>
          </a:p>
        </p:txBody>
      </p:sp>
      <p:pic>
        <p:nvPicPr>
          <p:cNvPr id="9" name="Graphic 8">
            <a:extLst>
              <a:ext uri="{FF2B5EF4-FFF2-40B4-BE49-F238E27FC236}">
                <a16:creationId xmlns:a16="http://schemas.microsoft.com/office/drawing/2014/main" id="{545671BB-9D70-6394-3CA1-0669A22FCB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55910" y="6285404"/>
            <a:ext cx="706755" cy="192024"/>
          </a:xfrm>
          <a:prstGeom prst="rect">
            <a:avLst/>
          </a:prstGeom>
        </p:spPr>
      </p:pic>
    </p:spTree>
    <p:extLst>
      <p:ext uri="{BB962C8B-B14F-4D97-AF65-F5344CB8AC3E}">
        <p14:creationId xmlns:p14="http://schemas.microsoft.com/office/powerpoint/2010/main" val="100513892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6_Title Subtitle and graphic - Dark">
    <p:bg>
      <p:bgPr>
        <a:solidFill>
          <a:schemeClr val="tx2"/>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8C16F05C-4BB9-7C82-C709-68EA2F74B897}"/>
              </a:ext>
            </a:extLst>
          </p:cNvPr>
          <p:cNvSpPr>
            <a:spLocks noGrp="1"/>
          </p:cNvSpPr>
          <p:nvPr>
            <p:ph type="dt" sz="half" idx="10"/>
          </p:nvPr>
        </p:nvSpPr>
        <p:spPr/>
        <p:txBody>
          <a:bodyPr/>
          <a:lstStyle/>
          <a:p>
            <a:fld id="{538BA0BE-9994-4243-B399-F1EA7335824C}" type="datetime1">
              <a:rPr lang="en-US" smtClean="0"/>
              <a:t>4/2/2025</a:t>
            </a:fld>
            <a:endParaRPr lang="en-US"/>
          </a:p>
        </p:txBody>
      </p:sp>
      <p:sp>
        <p:nvSpPr>
          <p:cNvPr id="4" name="Footer Placeholder 3">
            <a:extLst>
              <a:ext uri="{FF2B5EF4-FFF2-40B4-BE49-F238E27FC236}">
                <a16:creationId xmlns:a16="http://schemas.microsoft.com/office/drawing/2014/main" id="{B562C211-B566-11DA-A38D-906051586563}"/>
              </a:ext>
            </a:extLst>
          </p:cNvPr>
          <p:cNvSpPr>
            <a:spLocks noGrp="1"/>
          </p:cNvSpPr>
          <p:nvPr>
            <p:ph type="ftr" sz="quarter" idx="11"/>
          </p:nvPr>
        </p:nvSpPr>
        <p:spPr/>
        <p:txBody>
          <a:bodyPr/>
          <a:lstStyle/>
          <a:p>
            <a:endParaRPr lang="en-US"/>
          </a:p>
        </p:txBody>
      </p:sp>
      <p:sp>
        <p:nvSpPr>
          <p:cNvPr id="6" name="object 24">
            <a:extLst>
              <a:ext uri="{FF2B5EF4-FFF2-40B4-BE49-F238E27FC236}">
                <a16:creationId xmlns:a16="http://schemas.microsoft.com/office/drawing/2014/main" id="{E5F920B2-E5F2-B5E1-9A23-2C5EE88B6F55}"/>
              </a:ext>
            </a:extLst>
          </p:cNvPr>
          <p:cNvSpPr/>
          <p:nvPr userDrawn="1"/>
        </p:nvSpPr>
        <p:spPr>
          <a:xfrm>
            <a:off x="1588" y="343463"/>
            <a:ext cx="152457" cy="6170641"/>
          </a:xfrm>
          <a:custGeom>
            <a:avLst/>
            <a:gdLst/>
            <a:ahLst/>
            <a:cxnLst/>
            <a:rect l="l" t="t" r="r" b="b"/>
            <a:pathLst>
              <a:path w="251460" h="10177780">
                <a:moveTo>
                  <a:pt x="251301" y="0"/>
                </a:moveTo>
                <a:lnTo>
                  <a:pt x="0" y="0"/>
                </a:lnTo>
                <a:lnTo>
                  <a:pt x="0" y="10177700"/>
                </a:lnTo>
                <a:lnTo>
                  <a:pt x="251301" y="10177700"/>
                </a:lnTo>
                <a:lnTo>
                  <a:pt x="251301" y="0"/>
                </a:lnTo>
                <a:close/>
              </a:path>
            </a:pathLst>
          </a:custGeom>
          <a:solidFill>
            <a:schemeClr val="accent3"/>
          </a:solidFill>
        </p:spPr>
        <p:txBody>
          <a:bodyPr wrap="square" lIns="0" tIns="0" rIns="0" bIns="0" rtlCol="0"/>
          <a:lstStyle/>
          <a:p>
            <a:endParaRPr kern="0">
              <a:solidFill>
                <a:sysClr val="windowText" lastClr="000000"/>
              </a:solidFill>
            </a:endParaRPr>
          </a:p>
        </p:txBody>
      </p:sp>
      <p:sp>
        <p:nvSpPr>
          <p:cNvPr id="7" name="Text Placeholder 32">
            <a:extLst>
              <a:ext uri="{FF2B5EF4-FFF2-40B4-BE49-F238E27FC236}">
                <a16:creationId xmlns:a16="http://schemas.microsoft.com/office/drawing/2014/main" id="{76176889-EC90-7074-D8BD-FB8FBFBCB343}"/>
              </a:ext>
            </a:extLst>
          </p:cNvPr>
          <p:cNvSpPr>
            <a:spLocks noGrp="1"/>
          </p:cNvSpPr>
          <p:nvPr>
            <p:ph type="body" sz="quarter" idx="14" hasCustomPrompt="1"/>
          </p:nvPr>
        </p:nvSpPr>
        <p:spPr>
          <a:xfrm>
            <a:off x="763623" y="332656"/>
            <a:ext cx="8229600" cy="914400"/>
          </a:xfrm>
        </p:spPr>
        <p:txBody>
          <a:bodyPr anchor="b"/>
          <a:lstStyle>
            <a:lvl1pPr marL="0" indent="0">
              <a:spcBef>
                <a:spcPts val="0"/>
              </a:spcBef>
              <a:buNone/>
              <a:defRPr sz="3150">
                <a:solidFill>
                  <a:schemeClr val="bg1"/>
                </a:solidFill>
                <a:latin typeface="+mj-lt"/>
              </a:defRPr>
            </a:lvl1pPr>
          </a:lstStyle>
          <a:p>
            <a:pPr lvl="0"/>
            <a:r>
              <a:rPr lang="en-US"/>
              <a:t>Heading</a:t>
            </a:r>
          </a:p>
        </p:txBody>
      </p:sp>
      <p:sp>
        <p:nvSpPr>
          <p:cNvPr id="10" name="Text Placeholder 9">
            <a:extLst>
              <a:ext uri="{FF2B5EF4-FFF2-40B4-BE49-F238E27FC236}">
                <a16:creationId xmlns:a16="http://schemas.microsoft.com/office/drawing/2014/main" id="{37CFB753-B7D0-7691-BBDF-851034055F44}"/>
              </a:ext>
            </a:extLst>
          </p:cNvPr>
          <p:cNvSpPr>
            <a:spLocks noGrp="1"/>
          </p:cNvSpPr>
          <p:nvPr>
            <p:ph type="body" sz="quarter" idx="15"/>
          </p:nvPr>
        </p:nvSpPr>
        <p:spPr>
          <a:xfrm>
            <a:off x="763623" y="1304764"/>
            <a:ext cx="8229600" cy="457200"/>
          </a:xfrm>
        </p:spPr>
        <p:txBody>
          <a:bodyPr/>
          <a:lstStyle>
            <a:lvl1pPr marL="0" indent="0">
              <a:buNone/>
              <a:defRPr sz="2400" b="0">
                <a:solidFill>
                  <a:schemeClr val="accent3"/>
                </a:solidFill>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p:txBody>
      </p:sp>
      <p:sp>
        <p:nvSpPr>
          <p:cNvPr id="8" name="Slide Number Box">
            <a:extLst>
              <a:ext uri="{FF2B5EF4-FFF2-40B4-BE49-F238E27FC236}">
                <a16:creationId xmlns:a16="http://schemas.microsoft.com/office/drawing/2014/main" id="{0F62DB2E-BAFF-C32E-D7F1-267A0C3E04A9}"/>
              </a:ext>
            </a:extLst>
          </p:cNvPr>
          <p:cNvSpPr txBox="1"/>
          <p:nvPr userDrawn="1"/>
        </p:nvSpPr>
        <p:spPr>
          <a:xfrm>
            <a:off x="11566535" y="6234575"/>
            <a:ext cx="279503" cy="283464"/>
          </a:xfrm>
          <a:prstGeom prst="rect">
            <a:avLst/>
          </a:prstGeom>
          <a:solidFill>
            <a:srgbClr val="FFD700"/>
          </a:solidFill>
        </p:spPr>
        <p:txBody>
          <a:bodyPr vert="horz" wrap="square" lIns="0" tIns="38884" rIns="0" bIns="0" rtlCol="0">
            <a:spAutoFit/>
          </a:bodyPr>
          <a:lstStyle/>
          <a:p>
            <a:pPr marL="55825" algn="ctr">
              <a:spcBef>
                <a:spcPts val="306"/>
              </a:spcBef>
            </a:pPr>
            <a:endParaRPr sz="1182">
              <a:latin typeface="Real Head Pro"/>
              <a:cs typeface="Real Head Pro"/>
            </a:endParaRPr>
          </a:p>
        </p:txBody>
      </p:sp>
      <p:sp>
        <p:nvSpPr>
          <p:cNvPr id="9" name="Slide Number Placeholder 4">
            <a:extLst>
              <a:ext uri="{FF2B5EF4-FFF2-40B4-BE49-F238E27FC236}">
                <a16:creationId xmlns:a16="http://schemas.microsoft.com/office/drawing/2014/main" id="{F19D5302-242A-C96C-DC51-6B38927710A9}"/>
              </a:ext>
            </a:extLst>
          </p:cNvPr>
          <p:cNvSpPr>
            <a:spLocks noGrp="1"/>
          </p:cNvSpPr>
          <p:nvPr>
            <p:ph type="sldNum" sz="quarter" idx="12"/>
          </p:nvPr>
        </p:nvSpPr>
        <p:spPr>
          <a:xfrm>
            <a:off x="11562574" y="6234576"/>
            <a:ext cx="283464" cy="283464"/>
          </a:xfrm>
        </p:spPr>
        <p:txBody>
          <a:bodyPr/>
          <a:lstStyle/>
          <a:p>
            <a:fld id="{FF7D9A68-EC15-4B1F-850C-8A6CCAFA90D8}" type="slidenum">
              <a:rPr lang="en-US" smtClean="0"/>
              <a:pPr/>
              <a:t>‹#›</a:t>
            </a:fld>
            <a:endParaRPr lang="en-US"/>
          </a:p>
        </p:txBody>
      </p:sp>
      <p:pic>
        <p:nvPicPr>
          <p:cNvPr id="2" name="Graphic 1">
            <a:extLst>
              <a:ext uri="{FF2B5EF4-FFF2-40B4-BE49-F238E27FC236}">
                <a16:creationId xmlns:a16="http://schemas.microsoft.com/office/drawing/2014/main" id="{BEA430D3-630F-F885-AB28-5DF9FBF8EDE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0755910" y="6285404"/>
            <a:ext cx="706755" cy="192024"/>
          </a:xfrm>
          <a:prstGeom prst="rect">
            <a:avLst/>
          </a:prstGeom>
        </p:spPr>
      </p:pic>
    </p:spTree>
    <p:extLst>
      <p:ext uri="{BB962C8B-B14F-4D97-AF65-F5344CB8AC3E}">
        <p14:creationId xmlns:p14="http://schemas.microsoft.com/office/powerpoint/2010/main" val="422980898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F42569B-14C1-480A-826C-27D70A3288BE}" type="datetimeFigureOut">
              <a:rPr lang="en-US" smtClean="0"/>
              <a:t>4/2/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B05F229-852D-4A77-95BA-3D996206520B}" type="slidenum">
              <a:rPr lang="en-US" smtClean="0"/>
              <a:t>‹#›</a:t>
            </a:fld>
            <a:endParaRPr lang="en-US"/>
          </a:p>
        </p:txBody>
      </p:sp>
    </p:spTree>
    <p:extLst>
      <p:ext uri="{BB962C8B-B14F-4D97-AF65-F5344CB8AC3E}">
        <p14:creationId xmlns:p14="http://schemas.microsoft.com/office/powerpoint/2010/main" val="29614712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CF42569B-14C1-480A-826C-27D70A3288BE}" type="datetimeFigureOut">
              <a:rPr lang="en-US" smtClean="0"/>
              <a:t>4/2/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B05F229-852D-4A77-95BA-3D996206520B}" type="slidenum">
              <a:rPr lang="en-US" smtClean="0"/>
              <a:t>‹#›</a:t>
            </a:fld>
            <a:endParaRPr lang="en-US"/>
          </a:p>
        </p:txBody>
      </p:sp>
    </p:spTree>
    <p:extLst>
      <p:ext uri="{BB962C8B-B14F-4D97-AF65-F5344CB8AC3E}">
        <p14:creationId xmlns:p14="http://schemas.microsoft.com/office/powerpoint/2010/main" val="39583585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7.xml"/><Relationship Id="rId21" Type="http://schemas.openxmlformats.org/officeDocument/2006/relationships/slideLayout" Target="../slideLayouts/slideLayout32.xml"/><Relationship Id="rId42" Type="http://schemas.openxmlformats.org/officeDocument/2006/relationships/slideLayout" Target="../slideLayouts/slideLayout53.xml"/><Relationship Id="rId47" Type="http://schemas.openxmlformats.org/officeDocument/2006/relationships/slideLayout" Target="../slideLayouts/slideLayout58.xml"/><Relationship Id="rId63" Type="http://schemas.openxmlformats.org/officeDocument/2006/relationships/slideLayout" Target="../slideLayouts/slideLayout74.xml"/><Relationship Id="rId68" Type="http://schemas.openxmlformats.org/officeDocument/2006/relationships/theme" Target="../theme/theme2.xml"/><Relationship Id="rId7" Type="http://schemas.openxmlformats.org/officeDocument/2006/relationships/slideLayout" Target="../slideLayouts/slideLayout18.xml"/><Relationship Id="rId71"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slideLayout" Target="../slideLayouts/slideLayout27.xml"/><Relationship Id="rId29" Type="http://schemas.openxmlformats.org/officeDocument/2006/relationships/slideLayout" Target="../slideLayouts/slideLayout40.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37" Type="http://schemas.openxmlformats.org/officeDocument/2006/relationships/slideLayout" Target="../slideLayouts/slideLayout48.xml"/><Relationship Id="rId40" Type="http://schemas.openxmlformats.org/officeDocument/2006/relationships/slideLayout" Target="../slideLayouts/slideLayout51.xml"/><Relationship Id="rId45" Type="http://schemas.openxmlformats.org/officeDocument/2006/relationships/slideLayout" Target="../slideLayouts/slideLayout56.xml"/><Relationship Id="rId53" Type="http://schemas.openxmlformats.org/officeDocument/2006/relationships/slideLayout" Target="../slideLayouts/slideLayout64.xml"/><Relationship Id="rId58" Type="http://schemas.openxmlformats.org/officeDocument/2006/relationships/slideLayout" Target="../slideLayouts/slideLayout69.xml"/><Relationship Id="rId66" Type="http://schemas.openxmlformats.org/officeDocument/2006/relationships/slideLayout" Target="../slideLayouts/slideLayout77.xml"/><Relationship Id="rId5" Type="http://schemas.openxmlformats.org/officeDocument/2006/relationships/slideLayout" Target="../slideLayouts/slideLayout16.xml"/><Relationship Id="rId61" Type="http://schemas.openxmlformats.org/officeDocument/2006/relationships/slideLayout" Target="../slideLayouts/slideLayout72.xml"/><Relationship Id="rId19" Type="http://schemas.openxmlformats.org/officeDocument/2006/relationships/slideLayout" Target="../slideLayouts/slideLayout3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 Id="rId35" Type="http://schemas.openxmlformats.org/officeDocument/2006/relationships/slideLayout" Target="../slideLayouts/slideLayout46.xml"/><Relationship Id="rId43" Type="http://schemas.openxmlformats.org/officeDocument/2006/relationships/slideLayout" Target="../slideLayouts/slideLayout54.xml"/><Relationship Id="rId48" Type="http://schemas.openxmlformats.org/officeDocument/2006/relationships/slideLayout" Target="../slideLayouts/slideLayout59.xml"/><Relationship Id="rId56" Type="http://schemas.openxmlformats.org/officeDocument/2006/relationships/slideLayout" Target="../slideLayouts/slideLayout67.xml"/><Relationship Id="rId64" Type="http://schemas.openxmlformats.org/officeDocument/2006/relationships/slideLayout" Target="../slideLayouts/slideLayout75.xml"/><Relationship Id="rId69" Type="http://schemas.openxmlformats.org/officeDocument/2006/relationships/tags" Target="../tags/tag1.xml"/><Relationship Id="rId8" Type="http://schemas.openxmlformats.org/officeDocument/2006/relationships/slideLayout" Target="../slideLayouts/slideLayout19.xml"/><Relationship Id="rId51" Type="http://schemas.openxmlformats.org/officeDocument/2006/relationships/slideLayout" Target="../slideLayouts/slideLayout62.xml"/><Relationship Id="rId72" Type="http://schemas.openxmlformats.org/officeDocument/2006/relationships/image" Target="../media/image2.png"/><Relationship Id="rId3" Type="http://schemas.openxmlformats.org/officeDocument/2006/relationships/slideLayout" Target="../slideLayouts/slideLayout14.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38" Type="http://schemas.openxmlformats.org/officeDocument/2006/relationships/slideLayout" Target="../slideLayouts/slideLayout49.xml"/><Relationship Id="rId46" Type="http://schemas.openxmlformats.org/officeDocument/2006/relationships/slideLayout" Target="../slideLayouts/slideLayout57.xml"/><Relationship Id="rId59" Type="http://schemas.openxmlformats.org/officeDocument/2006/relationships/slideLayout" Target="../slideLayouts/slideLayout70.xml"/><Relationship Id="rId67" Type="http://schemas.openxmlformats.org/officeDocument/2006/relationships/slideLayout" Target="../slideLayouts/slideLayout78.xml"/><Relationship Id="rId20" Type="http://schemas.openxmlformats.org/officeDocument/2006/relationships/slideLayout" Target="../slideLayouts/slideLayout31.xml"/><Relationship Id="rId41" Type="http://schemas.openxmlformats.org/officeDocument/2006/relationships/slideLayout" Target="../slideLayouts/slideLayout52.xml"/><Relationship Id="rId54" Type="http://schemas.openxmlformats.org/officeDocument/2006/relationships/slideLayout" Target="../slideLayouts/slideLayout65.xml"/><Relationship Id="rId62" Type="http://schemas.openxmlformats.org/officeDocument/2006/relationships/slideLayout" Target="../slideLayouts/slideLayout73.xml"/><Relationship Id="rId70" Type="http://schemas.openxmlformats.org/officeDocument/2006/relationships/oleObject" Target="../embeddings/oleObject1.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36" Type="http://schemas.openxmlformats.org/officeDocument/2006/relationships/slideLayout" Target="../slideLayouts/slideLayout47.xml"/><Relationship Id="rId49" Type="http://schemas.openxmlformats.org/officeDocument/2006/relationships/slideLayout" Target="../slideLayouts/slideLayout60.xml"/><Relationship Id="rId57" Type="http://schemas.openxmlformats.org/officeDocument/2006/relationships/slideLayout" Target="../slideLayouts/slideLayout68.xml"/><Relationship Id="rId10" Type="http://schemas.openxmlformats.org/officeDocument/2006/relationships/slideLayout" Target="../slideLayouts/slideLayout21.xml"/><Relationship Id="rId31" Type="http://schemas.openxmlformats.org/officeDocument/2006/relationships/slideLayout" Target="../slideLayouts/slideLayout42.xml"/><Relationship Id="rId44" Type="http://schemas.openxmlformats.org/officeDocument/2006/relationships/slideLayout" Target="../slideLayouts/slideLayout55.xml"/><Relationship Id="rId52" Type="http://schemas.openxmlformats.org/officeDocument/2006/relationships/slideLayout" Target="../slideLayouts/slideLayout63.xml"/><Relationship Id="rId60" Type="http://schemas.openxmlformats.org/officeDocument/2006/relationships/slideLayout" Target="../slideLayouts/slideLayout71.xml"/><Relationship Id="rId65" Type="http://schemas.openxmlformats.org/officeDocument/2006/relationships/slideLayout" Target="../slideLayouts/slideLayout76.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9" Type="http://schemas.openxmlformats.org/officeDocument/2006/relationships/slideLayout" Target="../slideLayouts/slideLayout50.xml"/><Relationship Id="rId34" Type="http://schemas.openxmlformats.org/officeDocument/2006/relationships/slideLayout" Target="../slideLayouts/slideLayout45.xml"/><Relationship Id="rId50" Type="http://schemas.openxmlformats.org/officeDocument/2006/relationships/slideLayout" Target="../slideLayouts/slideLayout61.xml"/><Relationship Id="rId55" Type="http://schemas.openxmlformats.org/officeDocument/2006/relationships/slideLayout" Target="../slideLayouts/slideLayout6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CF42569B-14C1-480A-826C-27D70A3288BE}" type="datetimeFigureOut">
              <a:rPr lang="en-US" smtClean="0"/>
              <a:t>4/2/2025</a:t>
            </a:fld>
            <a:endParaRPr lang="en-US"/>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2B05F229-852D-4A77-95BA-3D996206520B}" type="slidenum">
              <a:rPr lang="en-US" smtClean="0"/>
              <a:t>‹#›</a:t>
            </a:fld>
            <a:endParaRPr lang="en-US"/>
          </a:p>
        </p:txBody>
      </p:sp>
    </p:spTree>
    <p:extLst>
      <p:ext uri="{BB962C8B-B14F-4D97-AF65-F5344CB8AC3E}">
        <p14:creationId xmlns:p14="http://schemas.microsoft.com/office/powerpoint/2010/main" val="68523494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BDDF228-D991-9DFF-66A2-74D38FF904D5}"/>
              </a:ext>
            </a:extLst>
          </p:cNvPr>
          <p:cNvGraphicFramePr>
            <a:graphicFrameLocks noChangeAspect="1"/>
          </p:cNvGraphicFramePr>
          <p:nvPr userDrawn="1">
            <p:custDataLst>
              <p:tags r:id="rId69"/>
            </p:custDataLst>
            <p:extLst>
              <p:ext uri="{D42A27DB-BD31-4B8C-83A1-F6EECF244321}">
                <p14:modId xmlns:p14="http://schemas.microsoft.com/office/powerpoint/2010/main" val="1240871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0" imgW="425" imgH="425" progId="TCLayout.ActiveDocument.1">
                  <p:embed/>
                </p:oleObj>
              </mc:Choice>
              <mc:Fallback>
                <p:oleObj name="think-cell Slide" r:id="rId70" imgW="425" imgH="425" progId="TCLayout.ActiveDocument.1">
                  <p:embed/>
                  <p:pic>
                    <p:nvPicPr>
                      <p:cNvPr id="10" name="think-cell data - do not delete" hidden="1">
                        <a:extLst>
                          <a:ext uri="{FF2B5EF4-FFF2-40B4-BE49-F238E27FC236}">
                            <a16:creationId xmlns:a16="http://schemas.microsoft.com/office/drawing/2014/main" id="{BBDDF228-D991-9DFF-66A2-74D38FF904D5}"/>
                          </a:ext>
                        </a:extLst>
                      </p:cNvPr>
                      <p:cNvPicPr/>
                      <p:nvPr/>
                    </p:nvPicPr>
                    <p:blipFill>
                      <a:blip r:embed="rId71"/>
                      <a:stretch>
                        <a:fillRect/>
                      </a:stretch>
                    </p:blipFill>
                    <p:spPr>
                      <a:xfrm>
                        <a:off x="1588" y="1588"/>
                        <a:ext cx="1588" cy="1588"/>
                      </a:xfrm>
                      <a:prstGeom prst="rect">
                        <a:avLst/>
                      </a:prstGeom>
                    </p:spPr>
                  </p:pic>
                </p:oleObj>
              </mc:Fallback>
            </mc:AlternateContent>
          </a:graphicData>
        </a:graphic>
      </p:graphicFrame>
      <p:sp>
        <p:nvSpPr>
          <p:cNvPr id="8" name="Slide Number Box">
            <a:extLst>
              <a:ext uri="{FF2B5EF4-FFF2-40B4-BE49-F238E27FC236}">
                <a16:creationId xmlns:a16="http://schemas.microsoft.com/office/drawing/2014/main" id="{87A3A5CC-160F-94CA-ED3C-A23F6E41D15B}"/>
              </a:ext>
            </a:extLst>
          </p:cNvPr>
          <p:cNvSpPr txBox="1"/>
          <p:nvPr userDrawn="1"/>
        </p:nvSpPr>
        <p:spPr>
          <a:xfrm>
            <a:off x="11566535" y="6234575"/>
            <a:ext cx="279503" cy="283464"/>
          </a:xfrm>
          <a:prstGeom prst="rect">
            <a:avLst/>
          </a:prstGeom>
          <a:solidFill>
            <a:srgbClr val="FFD700"/>
          </a:solidFill>
        </p:spPr>
        <p:txBody>
          <a:bodyPr vert="horz" wrap="square" lIns="0" tIns="38884" rIns="0" bIns="0" rtlCol="0">
            <a:spAutoFit/>
          </a:bodyPr>
          <a:lstStyle/>
          <a:p>
            <a:pPr marL="55825" algn="ctr">
              <a:spcBef>
                <a:spcPts val="306"/>
              </a:spcBef>
            </a:pPr>
            <a:endParaRPr sz="1182">
              <a:latin typeface="Real Head Pro"/>
              <a:cs typeface="Real Head Pro"/>
            </a:endParaRPr>
          </a:p>
        </p:txBody>
      </p:sp>
      <p:sp>
        <p:nvSpPr>
          <p:cNvPr id="2" name="Title Placeholder 1">
            <a:extLst>
              <a:ext uri="{FF2B5EF4-FFF2-40B4-BE49-F238E27FC236}">
                <a16:creationId xmlns:a16="http://schemas.microsoft.com/office/drawing/2014/main" id="{A338A0D3-1AA4-C86E-FBF7-C1CD908ABB13}"/>
              </a:ext>
            </a:extLst>
          </p:cNvPr>
          <p:cNvSpPr>
            <a:spLocks noGrp="1"/>
          </p:cNvSpPr>
          <p:nvPr>
            <p:ph type="title"/>
          </p:nvPr>
        </p:nvSpPr>
        <p:spPr>
          <a:xfrm>
            <a:off x="462011" y="240626"/>
            <a:ext cx="10891789" cy="1205966"/>
          </a:xfrm>
          <a:prstGeom prst="rect">
            <a:avLst/>
          </a:prstGeom>
        </p:spPr>
        <p:txBody>
          <a:bodyPr vert="horz" lIns="0" tIns="0" rIns="0" bIns="0" rtlCol="0" anchor="b">
            <a:noAutofit/>
          </a:bodyPr>
          <a:lstStyle/>
          <a:p>
            <a:r>
              <a:rPr lang="en-US"/>
              <a:t>Click to edit Master title style</a:t>
            </a:r>
          </a:p>
        </p:txBody>
      </p:sp>
      <p:sp>
        <p:nvSpPr>
          <p:cNvPr id="3" name="Text Placeholder 2">
            <a:extLst>
              <a:ext uri="{FF2B5EF4-FFF2-40B4-BE49-F238E27FC236}">
                <a16:creationId xmlns:a16="http://schemas.microsoft.com/office/drawing/2014/main" id="{2F0F75BA-869C-57FB-5EF9-C9DBB9146F64}"/>
              </a:ext>
            </a:extLst>
          </p:cNvPr>
          <p:cNvSpPr>
            <a:spLocks noGrp="1"/>
          </p:cNvSpPr>
          <p:nvPr>
            <p:ph type="body" idx="1"/>
          </p:nvPr>
        </p:nvSpPr>
        <p:spPr>
          <a:xfrm>
            <a:off x="462011" y="1825625"/>
            <a:ext cx="10891789"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A123D76-3E40-087D-63D5-CEE7591F89A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9A5D80D6-DF3C-4908-938F-A45E5DC17A7C}" type="datetime1">
              <a:rPr lang="en-US" smtClean="0"/>
              <a:t>4/2/2025</a:t>
            </a:fld>
            <a:endParaRPr lang="en-US"/>
          </a:p>
        </p:txBody>
      </p:sp>
      <p:sp>
        <p:nvSpPr>
          <p:cNvPr id="5" name="Footer Placeholder 4">
            <a:extLst>
              <a:ext uri="{FF2B5EF4-FFF2-40B4-BE49-F238E27FC236}">
                <a16:creationId xmlns:a16="http://schemas.microsoft.com/office/drawing/2014/main" id="{25301A66-2898-81D9-816A-0B96C069CDA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0F523BC0-E069-39C8-4654-F73AA3777834}"/>
              </a:ext>
            </a:extLst>
          </p:cNvPr>
          <p:cNvSpPr>
            <a:spLocks noGrp="1"/>
          </p:cNvSpPr>
          <p:nvPr>
            <p:ph type="sldNum" sz="quarter" idx="4"/>
          </p:nvPr>
        </p:nvSpPr>
        <p:spPr>
          <a:xfrm>
            <a:off x="11562574" y="6234576"/>
            <a:ext cx="283464" cy="283464"/>
          </a:xfrm>
          <a:prstGeom prst="rect">
            <a:avLst/>
          </a:prstGeom>
        </p:spPr>
        <p:txBody>
          <a:bodyPr vert="horz" wrap="none" lIns="0" tIns="0" rIns="0" bIns="0" rtlCol="0" anchor="ctr"/>
          <a:lstStyle>
            <a:lvl1pPr algn="ctr">
              <a:defRPr sz="1180" b="1">
                <a:solidFill>
                  <a:schemeClr val="tx1">
                    <a:tint val="82000"/>
                  </a:schemeClr>
                </a:solidFill>
                <a:latin typeface="Real Head Pro" panose="020B0504020204020204" pitchFamily="34" charset="0"/>
              </a:defRPr>
            </a:lvl1pPr>
          </a:lstStyle>
          <a:p>
            <a:fld id="{FF7D9A68-EC15-4B1F-850C-8A6CCAFA90D8}" type="slidenum">
              <a:rPr lang="en-US" smtClean="0"/>
              <a:pPr/>
              <a:t>‹#›</a:t>
            </a:fld>
            <a:endParaRPr lang="en-US"/>
          </a:p>
        </p:txBody>
      </p:sp>
      <p:pic>
        <p:nvPicPr>
          <p:cNvPr id="9" name="object 22">
            <a:extLst>
              <a:ext uri="{FF2B5EF4-FFF2-40B4-BE49-F238E27FC236}">
                <a16:creationId xmlns:a16="http://schemas.microsoft.com/office/drawing/2014/main" id="{5D2CB867-C014-2E6B-68D6-893F1BE0BDD2}"/>
              </a:ext>
            </a:extLst>
          </p:cNvPr>
          <p:cNvPicPr/>
          <p:nvPr userDrawn="1"/>
        </p:nvPicPr>
        <p:blipFill>
          <a:blip r:embed="rId72" cstate="print"/>
          <a:stretch>
            <a:fillRect/>
          </a:stretch>
        </p:blipFill>
        <p:spPr>
          <a:xfrm>
            <a:off x="10765411" y="6277900"/>
            <a:ext cx="697550" cy="192832"/>
          </a:xfrm>
          <a:prstGeom prst="rect">
            <a:avLst/>
          </a:prstGeom>
        </p:spPr>
      </p:pic>
    </p:spTree>
    <p:extLst>
      <p:ext uri="{BB962C8B-B14F-4D97-AF65-F5344CB8AC3E}">
        <p14:creationId xmlns:p14="http://schemas.microsoft.com/office/powerpoint/2010/main" val="347279618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 id="2147483703" r:id="rId31"/>
    <p:sldLayoutId id="2147483704" r:id="rId32"/>
    <p:sldLayoutId id="2147483705" r:id="rId33"/>
    <p:sldLayoutId id="2147483706" r:id="rId34"/>
    <p:sldLayoutId id="2147483707" r:id="rId35"/>
    <p:sldLayoutId id="2147483708" r:id="rId36"/>
    <p:sldLayoutId id="2147483709" r:id="rId37"/>
    <p:sldLayoutId id="2147483710" r:id="rId38"/>
    <p:sldLayoutId id="2147483711" r:id="rId39"/>
    <p:sldLayoutId id="2147483712" r:id="rId40"/>
    <p:sldLayoutId id="2147483713" r:id="rId41"/>
    <p:sldLayoutId id="2147483714" r:id="rId42"/>
    <p:sldLayoutId id="2147483715" r:id="rId43"/>
    <p:sldLayoutId id="2147483716" r:id="rId44"/>
    <p:sldLayoutId id="2147483717" r:id="rId45"/>
    <p:sldLayoutId id="2147483718" r:id="rId46"/>
    <p:sldLayoutId id="2147483719" r:id="rId47"/>
    <p:sldLayoutId id="2147483720" r:id="rId48"/>
    <p:sldLayoutId id="2147483721" r:id="rId49"/>
    <p:sldLayoutId id="2147483722" r:id="rId50"/>
    <p:sldLayoutId id="2147483723" r:id="rId51"/>
    <p:sldLayoutId id="2147483724" r:id="rId52"/>
    <p:sldLayoutId id="2147483725" r:id="rId53"/>
    <p:sldLayoutId id="2147483726" r:id="rId54"/>
    <p:sldLayoutId id="2147483727" r:id="rId55"/>
    <p:sldLayoutId id="2147483728" r:id="rId56"/>
    <p:sldLayoutId id="2147483729" r:id="rId57"/>
    <p:sldLayoutId id="2147483730" r:id="rId58"/>
    <p:sldLayoutId id="2147483731" r:id="rId59"/>
    <p:sldLayoutId id="2147483732" r:id="rId60"/>
    <p:sldLayoutId id="2147483733" r:id="rId61"/>
    <p:sldLayoutId id="2147483734" r:id="rId62"/>
    <p:sldLayoutId id="2147483735" r:id="rId63"/>
    <p:sldLayoutId id="2147483736" r:id="rId64"/>
    <p:sldLayoutId id="2147483737" r:id="rId65"/>
    <p:sldLayoutId id="2147483738" r:id="rId66"/>
    <p:sldLayoutId id="2147483739" r:id="rId67"/>
  </p:sldLayoutIdLst>
  <p:hf hdr="0" ftr="0" dt="0"/>
  <p:txStyles>
    <p:titleStyle>
      <a:lvl1pPr algn="l" defTabSz="914400" rtl="0" eaLnBrk="1" latinLnBrk="0" hangingPunct="1">
        <a:lnSpc>
          <a:spcPct val="90000"/>
        </a:lnSpc>
        <a:spcBef>
          <a:spcPct val="0"/>
        </a:spcBef>
        <a:buNone/>
        <a:defRPr sz="3150"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200"/>
        </a:spcBef>
        <a:buFont typeface="Arial" panose="020B0604020202020204" pitchFamily="34" charset="0"/>
        <a:buChar char="•"/>
        <a:defRPr sz="2800" kern="1200">
          <a:solidFill>
            <a:schemeClr val="tx1"/>
          </a:solidFill>
          <a:latin typeface="+mn-lt"/>
          <a:ea typeface="+mn-ea"/>
          <a:cs typeface="+mn-cs"/>
        </a:defRPr>
      </a:lvl1pPr>
      <a:lvl2pPr marL="457200" indent="-228600" algn="l" defTabSz="914400"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2pPr>
      <a:lvl3pPr marL="685800" indent="-228600" algn="l" defTabSz="914400" rtl="0" eaLnBrk="1" latinLnBrk="0" hangingPunct="1">
        <a:lnSpc>
          <a:spcPct val="90000"/>
        </a:lnSpc>
        <a:spcBef>
          <a:spcPts val="600"/>
        </a:spcBef>
        <a:buFont typeface="Arial" panose="020B0604020202020204" pitchFamily="34" charset="0"/>
        <a:buChar char="•"/>
        <a:defRPr sz="2000" kern="1200">
          <a:solidFill>
            <a:schemeClr val="tx1"/>
          </a:solidFill>
          <a:latin typeface="+mn-lt"/>
          <a:ea typeface="+mn-ea"/>
          <a:cs typeface="+mn-cs"/>
        </a:defRPr>
      </a:lvl3pPr>
      <a:lvl4pPr marL="914400" indent="-228600" algn="l" defTabSz="914400" rtl="0" eaLnBrk="1" latinLnBrk="0" hangingPunct="1">
        <a:lnSpc>
          <a:spcPct val="90000"/>
        </a:lnSpc>
        <a:spcBef>
          <a:spcPts val="600"/>
        </a:spcBef>
        <a:buFont typeface="Arial" panose="020B0604020202020204" pitchFamily="34" charset="0"/>
        <a:buChar char="•"/>
        <a:defRPr sz="1800" kern="1200">
          <a:solidFill>
            <a:schemeClr val="tx1"/>
          </a:solidFill>
          <a:latin typeface="+mn-lt"/>
          <a:ea typeface="+mn-ea"/>
          <a:cs typeface="+mn-cs"/>
        </a:defRPr>
      </a:lvl4pPr>
      <a:lvl5pPr marL="1143000" indent="-228600" algn="l" defTabSz="914400" rtl="0" eaLnBrk="1" latinLnBrk="0" hangingPunct="1">
        <a:lnSpc>
          <a:spcPct val="90000"/>
        </a:lnSpc>
        <a:spcBef>
          <a:spcPts val="6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5A9116A-FB73-EB46-D427-3FAC8411B653}"/>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F7D9A68-EC15-4B1F-850C-8A6CCAFA90D8}" type="slidenum">
              <a:rPr kumimoji="0" lang="en-US" sz="1180" b="1" i="0" u="none" strike="noStrike" kern="1200" cap="none" spc="0" normalizeH="0" baseline="0" noProof="0" smtClean="0">
                <a:ln>
                  <a:noFill/>
                </a:ln>
                <a:solidFill>
                  <a:srgbClr val="000000">
                    <a:tint val="82000"/>
                  </a:srgbClr>
                </a:solidFill>
                <a:effectLst/>
                <a:uLnTx/>
                <a:uFillTx/>
                <a:latin typeface="Real Head Pro" panose="020B0504020204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a:t>
            </a:fld>
            <a:endParaRPr kumimoji="0" lang="en-US" sz="1180" b="1" i="0" u="none" strike="noStrike" kern="1200" cap="none" spc="0" normalizeH="0" baseline="0" noProof="0">
              <a:ln>
                <a:noFill/>
              </a:ln>
              <a:solidFill>
                <a:srgbClr val="000000">
                  <a:tint val="82000"/>
                </a:srgbClr>
              </a:solidFill>
              <a:effectLst/>
              <a:uLnTx/>
              <a:uFillTx/>
              <a:latin typeface="Real Head Pro" panose="020B0504020204020204" pitchFamily="34" charset="0"/>
              <a:ea typeface="+mn-ea"/>
              <a:cs typeface="+mn-cs"/>
            </a:endParaRPr>
          </a:p>
        </p:txBody>
      </p:sp>
      <p:sp>
        <p:nvSpPr>
          <p:cNvPr id="2" name="Text Placeholder 1">
            <a:extLst>
              <a:ext uri="{FF2B5EF4-FFF2-40B4-BE49-F238E27FC236}">
                <a16:creationId xmlns:a16="http://schemas.microsoft.com/office/drawing/2014/main" id="{983C51B1-9796-0FD1-750F-808050B8FD02}"/>
              </a:ext>
            </a:extLst>
          </p:cNvPr>
          <p:cNvSpPr>
            <a:spLocks noGrp="1"/>
          </p:cNvSpPr>
          <p:nvPr>
            <p:ph type="body" sz="quarter" idx="14"/>
          </p:nvPr>
        </p:nvSpPr>
        <p:spPr>
          <a:xfrm>
            <a:off x="763623" y="369072"/>
            <a:ext cx="10798951" cy="457200"/>
          </a:xfrm>
        </p:spPr>
        <p:txBody>
          <a:bodyPr/>
          <a:lstStyle/>
          <a:p>
            <a:r>
              <a:rPr lang="en-GB" sz="3200"/>
              <a:t>Quad Summary Instructions </a:t>
            </a:r>
          </a:p>
        </p:txBody>
      </p:sp>
      <p:sp>
        <p:nvSpPr>
          <p:cNvPr id="7" name="TextBox 6">
            <a:extLst>
              <a:ext uri="{FF2B5EF4-FFF2-40B4-BE49-F238E27FC236}">
                <a16:creationId xmlns:a16="http://schemas.microsoft.com/office/drawing/2014/main" id="{0AF86627-6CB3-B7E0-A089-E5139A7D2F77}"/>
              </a:ext>
            </a:extLst>
          </p:cNvPr>
          <p:cNvSpPr txBox="1"/>
          <p:nvPr/>
        </p:nvSpPr>
        <p:spPr>
          <a:xfrm>
            <a:off x="4649931" y="6382046"/>
            <a:ext cx="2892138"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A3061"/>
                </a:solidFill>
                <a:effectLst/>
                <a:uLnTx/>
                <a:uFillTx/>
                <a:latin typeface="Work Sans" pitchFamily="2" charset="0"/>
                <a:ea typeface="Calibri" panose="020F0502020204030204" pitchFamily="34" charset="0"/>
                <a:cs typeface="Calibri" panose="020F0502020204030204" pitchFamily="34" charset="0"/>
              </a:rPr>
              <a:t>© 2025 </a:t>
            </a:r>
            <a:r>
              <a:rPr kumimoji="0" lang="en-US" sz="1050" b="0" i="0" u="none" strike="noStrike" kern="1200" cap="none" spc="0" normalizeH="0" baseline="0" noProof="0" err="1">
                <a:ln>
                  <a:noFill/>
                </a:ln>
                <a:solidFill>
                  <a:srgbClr val="0A3061"/>
                </a:solidFill>
                <a:effectLst/>
                <a:uLnTx/>
                <a:uFillTx/>
                <a:latin typeface="Work Sans" pitchFamily="2" charset="0"/>
                <a:ea typeface="Calibri" panose="020F0502020204030204" pitchFamily="34" charset="0"/>
                <a:cs typeface="Calibri" panose="020F0502020204030204" pitchFamily="34" charset="0"/>
              </a:rPr>
              <a:t>Natcast</a:t>
            </a:r>
            <a:r>
              <a:rPr kumimoji="0" lang="en-US" sz="1050" b="0" i="0" u="none" strike="noStrike" kern="1200" cap="none" spc="0" normalizeH="0" baseline="0" noProof="0">
                <a:ln>
                  <a:noFill/>
                </a:ln>
                <a:solidFill>
                  <a:srgbClr val="0A3061"/>
                </a:solidFill>
                <a:effectLst/>
                <a:uLnTx/>
                <a:uFillTx/>
                <a:latin typeface="Work Sans" pitchFamily="2" charset="0"/>
                <a:ea typeface="Calibri" panose="020F0502020204030204" pitchFamily="34" charset="0"/>
                <a:cs typeface="Calibri" panose="020F0502020204030204" pitchFamily="34" charset="0"/>
              </a:rPr>
              <a:t>, Inc. All Rights Reserved.</a:t>
            </a:r>
            <a:endParaRPr kumimoji="0" lang="en-US" sz="1050" b="0" i="0" u="none" strike="noStrike" kern="1200" cap="none" spc="0" normalizeH="0" baseline="0" noProof="0">
              <a:ln>
                <a:noFill/>
              </a:ln>
              <a:solidFill>
                <a:srgbClr val="0A3061"/>
              </a:solidFill>
              <a:effectLst/>
              <a:uLnTx/>
              <a:uFillTx/>
              <a:latin typeface="Work Sans"/>
              <a:ea typeface="+mn-ea"/>
              <a:cs typeface="+mn-cs"/>
            </a:endParaRPr>
          </a:p>
        </p:txBody>
      </p:sp>
      <p:sp>
        <p:nvSpPr>
          <p:cNvPr id="13" name="TextBox 12">
            <a:extLst>
              <a:ext uri="{FF2B5EF4-FFF2-40B4-BE49-F238E27FC236}">
                <a16:creationId xmlns:a16="http://schemas.microsoft.com/office/drawing/2014/main" id="{05308AF1-2B67-9237-EEBF-B014CE74CA3D}"/>
              </a:ext>
            </a:extLst>
          </p:cNvPr>
          <p:cNvSpPr txBox="1"/>
          <p:nvPr/>
        </p:nvSpPr>
        <p:spPr>
          <a:xfrm>
            <a:off x="763623" y="1023026"/>
            <a:ext cx="10798951" cy="4617418"/>
          </a:xfrm>
          <a:prstGeom prst="rect">
            <a:avLst/>
          </a:prstGeom>
          <a:noFill/>
        </p:spPr>
        <p:txBody>
          <a:bodyPr wrap="square" lIns="91440" tIns="45720" rIns="91440" bIns="45720" anchor="t">
            <a:spAutoFit/>
          </a:bodyPr>
          <a:lstStyle/>
          <a:p>
            <a:pPr marL="0" marR="0" algn="just">
              <a:lnSpc>
                <a:spcPct val="110000"/>
              </a:lnSpc>
              <a:spcBef>
                <a:spcPts val="800"/>
              </a:spcBef>
              <a:spcAft>
                <a:spcPts val="800"/>
              </a:spcAft>
            </a:pPr>
            <a:r>
              <a:rPr lang="en-US" sz="1600" kern="100">
                <a:effectLst/>
                <a:ea typeface="Work Sans" pitchFamily="2" charset="0"/>
                <a:cs typeface="Times New Roman"/>
              </a:rPr>
              <a:t>The Quad Summary serves as a concise visual overview of your proposal and must only contain information that is already present elsewhere in your full submission, with no new or additional details. This one-page summary should highlight key aspects of your project while maintaining complete consistency with your detailed proposal narrative. The next slide provides the required template that must be used without structural modification, though you may adjust visual elements to enhance clarity while maintaining the quadrant format. Please submit your completed Quad Summary as a PDF or .pptx compatible file in landscape orientation, ensuring it meets the following requirements:</a:t>
            </a:r>
            <a:endParaRPr lang="en-US" sz="1600" kern="100">
              <a:effectLst/>
              <a:ea typeface="Work Sans" pitchFamily="2" charset="0"/>
              <a:cs typeface="Times New Roman" panose="02020603050405020304" pitchFamily="18" charset="0"/>
            </a:endParaRPr>
          </a:p>
          <a:p>
            <a:pPr marL="0" marR="0">
              <a:lnSpc>
                <a:spcPct val="110000"/>
              </a:lnSpc>
            </a:pPr>
            <a:r>
              <a:rPr lang="en-US" sz="1600" b="1" kern="100">
                <a:effectLst/>
                <a:ea typeface="Work Sans" pitchFamily="2" charset="0"/>
                <a:cs typeface="Times New Roman" panose="02020603050405020304" pitchFamily="18" charset="0"/>
              </a:rPr>
              <a:t>Format requirements:</a:t>
            </a:r>
          </a:p>
          <a:p>
            <a:pPr marL="285750" marR="0" indent="-285750">
              <a:lnSpc>
                <a:spcPct val="110000"/>
              </a:lnSpc>
              <a:buFont typeface="Arial" panose="020B0604020202020204" pitchFamily="34" charset="0"/>
              <a:buChar char="•"/>
            </a:pPr>
            <a:r>
              <a:rPr lang="en-US" sz="1600" kern="100">
                <a:ea typeface="Work Sans" pitchFamily="2" charset="0"/>
                <a:cs typeface="Times New Roman"/>
              </a:rPr>
              <a:t>Proposers are to include their </a:t>
            </a:r>
            <a:r>
              <a:rPr lang="en-US" sz="1600" kern="100" err="1">
                <a:ea typeface="Work Sans" pitchFamily="2" charset="0"/>
                <a:cs typeface="Times New Roman"/>
              </a:rPr>
              <a:t>OpenWater</a:t>
            </a:r>
            <a:r>
              <a:rPr lang="en-US" sz="1600" kern="100">
                <a:ea typeface="Work Sans" pitchFamily="2" charset="0"/>
                <a:cs typeface="Times New Roman"/>
              </a:rPr>
              <a:t> Application # in the title of their Submission.</a:t>
            </a:r>
          </a:p>
          <a:p>
            <a:pPr marL="285750" marR="0" indent="-285750">
              <a:lnSpc>
                <a:spcPct val="110000"/>
              </a:lnSpc>
              <a:buFont typeface="Arial" panose="020B0604020202020204" pitchFamily="34" charset="0"/>
              <a:buChar char="•"/>
            </a:pPr>
            <a:r>
              <a:rPr lang="en-US" sz="1600" kern="100">
                <a:effectLst/>
                <a:ea typeface="Work Sans" pitchFamily="2" charset="0"/>
                <a:cs typeface="Times New Roman"/>
              </a:rPr>
              <a:t>Use one of the following fonts:</a:t>
            </a:r>
            <a:endParaRPr lang="en-US" sz="1600">
              <a:cs typeface="Times New Roman"/>
            </a:endParaRPr>
          </a:p>
          <a:p>
            <a:pPr marL="742950" lvl="1" indent="-285750">
              <a:lnSpc>
                <a:spcPct val="110000"/>
              </a:lnSpc>
              <a:buFont typeface="Arial" panose="020B0604020202020204" pitchFamily="34" charset="0"/>
              <a:buChar char="•"/>
            </a:pPr>
            <a:r>
              <a:rPr lang="en-US" sz="1600" kern="100">
                <a:effectLst/>
                <a:ea typeface="Work Sans" pitchFamily="2" charset="0"/>
                <a:cs typeface="Times New Roman"/>
              </a:rPr>
              <a:t>Arial (not Arial Narrow), Times New Roman, or Calibri at a font size of 11 points or larger; or </a:t>
            </a:r>
          </a:p>
          <a:p>
            <a:pPr marL="742950" lvl="1" indent="-285750">
              <a:lnSpc>
                <a:spcPct val="110000"/>
              </a:lnSpc>
              <a:buFont typeface="Arial" panose="020B0604020202020204" pitchFamily="34" charset="0"/>
              <a:buChar char="•"/>
            </a:pPr>
            <a:r>
              <a:rPr lang="en-US" sz="1600" kern="100">
                <a:effectLst/>
                <a:ea typeface="Work Sans" pitchFamily="2" charset="0"/>
                <a:cs typeface="Times New Roman"/>
              </a:rPr>
              <a:t>Aptos or Computer Modern family of fonts at a font size of 10 points or larger.</a:t>
            </a:r>
          </a:p>
          <a:p>
            <a:pPr marL="742950" lvl="1" indent="-285750">
              <a:lnSpc>
                <a:spcPct val="110000"/>
              </a:lnSpc>
              <a:buFont typeface="Arial" panose="020B0604020202020204" pitchFamily="34" charset="0"/>
              <a:buChar char="•"/>
            </a:pPr>
            <a:r>
              <a:rPr lang="en-US" sz="1600" kern="100">
                <a:effectLst/>
                <a:ea typeface="Work Sans" pitchFamily="2" charset="0"/>
                <a:cs typeface="Times New Roman" panose="02020603050405020304" pitchFamily="18" charset="0"/>
              </a:rPr>
              <a:t>Font size 9 pt should be used for tables and figures. </a:t>
            </a:r>
          </a:p>
          <a:p>
            <a:pPr marL="285750" indent="-285750">
              <a:lnSpc>
                <a:spcPct val="110000"/>
              </a:lnSpc>
              <a:buFont typeface="Arial" panose="020B0604020202020204" pitchFamily="34" charset="0"/>
              <a:buChar char="•"/>
            </a:pPr>
            <a:r>
              <a:rPr lang="en-US" sz="1600" kern="100">
                <a:effectLst/>
                <a:ea typeface="Work Sans" pitchFamily="2" charset="0"/>
                <a:cs typeface="Times New Roman"/>
              </a:rPr>
              <a:t>Page orientation must be landscape format</a:t>
            </a:r>
          </a:p>
          <a:p>
            <a:pPr marL="285750" indent="-285750">
              <a:lnSpc>
                <a:spcPct val="110000"/>
              </a:lnSpc>
              <a:spcAft>
                <a:spcPts val="800"/>
              </a:spcAft>
              <a:buFont typeface="Arial" panose="020B0604020202020204" pitchFamily="34" charset="0"/>
              <a:buChar char="•"/>
            </a:pPr>
            <a:r>
              <a:rPr lang="en-US" sz="1600" kern="100">
                <a:effectLst/>
                <a:ea typeface="Work Sans" pitchFamily="2" charset="0"/>
                <a:cs typeface="Times New Roman"/>
              </a:rPr>
              <a:t>File format: Submit as PDF or .pptx compatible file to ensure consistent viewing across platforms</a:t>
            </a:r>
            <a:endParaRPr lang="en-US" sz="1600" kern="100">
              <a:effectLst/>
              <a:ea typeface="Work Sans" pitchFamily="2" charset="0"/>
              <a:cs typeface="Times New Roman" panose="02020603050405020304" pitchFamily="18" charset="0"/>
            </a:endParaRPr>
          </a:p>
          <a:p>
            <a:pPr>
              <a:lnSpc>
                <a:spcPct val="110000"/>
              </a:lnSpc>
            </a:pPr>
            <a:r>
              <a:rPr lang="en-US" sz="1600" b="1" kern="100">
                <a:effectLst/>
                <a:ea typeface="Work Sans" pitchFamily="2" charset="0"/>
                <a:cs typeface="Times New Roman"/>
              </a:rPr>
              <a:t>Submission details: </a:t>
            </a:r>
          </a:p>
          <a:p>
            <a:pPr marL="285750" indent="-285750">
              <a:lnSpc>
                <a:spcPct val="110000"/>
              </a:lnSpc>
              <a:spcAft>
                <a:spcPts val="800"/>
              </a:spcAft>
              <a:buFont typeface="Arial" panose="020B0604020202020204" pitchFamily="34" charset="0"/>
              <a:buChar char="•"/>
            </a:pPr>
            <a:r>
              <a:rPr lang="en-US" sz="1600" kern="100">
                <a:effectLst/>
                <a:ea typeface="Work Sans" pitchFamily="2" charset="0"/>
                <a:cs typeface="Times New Roman"/>
              </a:rPr>
              <a:t>Submit Quad Summary along with all other Tech Narrative required items during proposal</a:t>
            </a:r>
            <a:r>
              <a:rPr lang="en-US" sz="1600" kern="100">
                <a:ea typeface="Work Sans" pitchFamily="2" charset="0"/>
                <a:cs typeface="Times New Roman"/>
              </a:rPr>
              <a:t>. </a:t>
            </a:r>
            <a:endParaRPr lang="en-US" sz="1600" kern="100">
              <a:effectLst/>
              <a:ea typeface="Work Sans" pitchFamily="2" charset="0"/>
              <a:cs typeface="Times New Roman"/>
            </a:endParaRPr>
          </a:p>
        </p:txBody>
      </p:sp>
    </p:spTree>
    <p:extLst>
      <p:ext uri="{BB962C8B-B14F-4D97-AF65-F5344CB8AC3E}">
        <p14:creationId xmlns:p14="http://schemas.microsoft.com/office/powerpoint/2010/main" val="21686897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6681E1-01B8-FAFC-60B6-670CB4DDD8BD}"/>
            </a:ext>
          </a:extLst>
        </p:cNvPr>
        <p:cNvGrpSpPr/>
        <p:nvPr/>
      </p:nvGrpSpPr>
      <p:grpSpPr>
        <a:xfrm>
          <a:off x="0" y="0"/>
          <a:ext cx="0" cy="0"/>
          <a:chOff x="0" y="0"/>
          <a:chExt cx="0" cy="0"/>
        </a:xfrm>
      </p:grpSpPr>
      <p:sp>
        <p:nvSpPr>
          <p:cNvPr id="3" name="Rectangle 2">
            <a:extLst>
              <a:ext uri="{FF2B5EF4-FFF2-40B4-BE49-F238E27FC236}">
                <a16:creationId xmlns:a16="http://schemas.microsoft.com/office/drawing/2014/main" id="{ADC8A223-4332-0D80-3F1D-E1BD0A20B2D5}"/>
              </a:ext>
            </a:extLst>
          </p:cNvPr>
          <p:cNvSpPr/>
          <p:nvPr/>
        </p:nvSpPr>
        <p:spPr>
          <a:xfrm>
            <a:off x="426357" y="866457"/>
            <a:ext cx="5577840" cy="2560320"/>
          </a:xfrm>
          <a:prstGeom prst="rect">
            <a:avLst/>
          </a:prstGeom>
          <a:solidFill>
            <a:schemeClr val="bg1"/>
          </a:solidFill>
          <a:ln w="28575" cap="flat" cmpd="sng" algn="ctr">
            <a:solidFill>
              <a:srgbClr val="0A306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sp>
        <p:nvSpPr>
          <p:cNvPr id="4" name="Rectangle 3">
            <a:extLst>
              <a:ext uri="{FF2B5EF4-FFF2-40B4-BE49-F238E27FC236}">
                <a16:creationId xmlns:a16="http://schemas.microsoft.com/office/drawing/2014/main" id="{E1C8D9EC-B0DE-9740-E6DC-A8C80F941543}"/>
              </a:ext>
            </a:extLst>
          </p:cNvPr>
          <p:cNvSpPr/>
          <p:nvPr/>
        </p:nvSpPr>
        <p:spPr>
          <a:xfrm>
            <a:off x="426942" y="3523702"/>
            <a:ext cx="5577840" cy="2560320"/>
          </a:xfrm>
          <a:prstGeom prst="rect">
            <a:avLst/>
          </a:prstGeom>
          <a:solidFill>
            <a:schemeClr val="bg1"/>
          </a:solidFill>
          <a:ln w="28575" cap="flat" cmpd="sng" algn="ctr">
            <a:solidFill>
              <a:srgbClr val="0A306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sp>
        <p:nvSpPr>
          <p:cNvPr id="6" name="Rectangle 5">
            <a:extLst>
              <a:ext uri="{FF2B5EF4-FFF2-40B4-BE49-F238E27FC236}">
                <a16:creationId xmlns:a16="http://schemas.microsoft.com/office/drawing/2014/main" id="{EAFDDE33-7D85-995E-59AD-0983FA42521B}"/>
              </a:ext>
            </a:extLst>
          </p:cNvPr>
          <p:cNvSpPr/>
          <p:nvPr/>
        </p:nvSpPr>
        <p:spPr>
          <a:xfrm>
            <a:off x="6271140" y="866457"/>
            <a:ext cx="5577840" cy="2560320"/>
          </a:xfrm>
          <a:prstGeom prst="rect">
            <a:avLst/>
          </a:prstGeom>
          <a:solidFill>
            <a:schemeClr val="bg1"/>
          </a:solidFill>
          <a:ln w="28575" cap="flat" cmpd="sng" algn="ctr">
            <a:solidFill>
              <a:srgbClr val="0A306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sp>
        <p:nvSpPr>
          <p:cNvPr id="8" name="Rectangle 7">
            <a:extLst>
              <a:ext uri="{FF2B5EF4-FFF2-40B4-BE49-F238E27FC236}">
                <a16:creationId xmlns:a16="http://schemas.microsoft.com/office/drawing/2014/main" id="{41D96D6C-F4B4-8031-FB48-FE607F303A83}"/>
              </a:ext>
            </a:extLst>
          </p:cNvPr>
          <p:cNvSpPr/>
          <p:nvPr/>
        </p:nvSpPr>
        <p:spPr>
          <a:xfrm>
            <a:off x="6269518" y="3523702"/>
            <a:ext cx="5577840" cy="2560320"/>
          </a:xfrm>
          <a:prstGeom prst="rect">
            <a:avLst/>
          </a:prstGeom>
          <a:solidFill>
            <a:schemeClr val="bg1"/>
          </a:solidFill>
          <a:ln w="28575" cap="flat" cmpd="sng" algn="ctr">
            <a:solidFill>
              <a:srgbClr val="0A3060"/>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en-US"/>
          </a:p>
        </p:txBody>
      </p:sp>
      <p:graphicFrame>
        <p:nvGraphicFramePr>
          <p:cNvPr id="9" name="Table 8">
            <a:extLst>
              <a:ext uri="{FF2B5EF4-FFF2-40B4-BE49-F238E27FC236}">
                <a16:creationId xmlns:a16="http://schemas.microsoft.com/office/drawing/2014/main" id="{0499D5FB-888B-6ED6-F656-881C715FD7E5}"/>
              </a:ext>
            </a:extLst>
          </p:cNvPr>
          <p:cNvGraphicFramePr>
            <a:graphicFrameLocks noGrp="1"/>
          </p:cNvGraphicFramePr>
          <p:nvPr>
            <p:extLst>
              <p:ext uri="{D42A27DB-BD31-4B8C-83A1-F6EECF244321}">
                <p14:modId xmlns:p14="http://schemas.microsoft.com/office/powerpoint/2010/main" val="49008451"/>
              </p:ext>
            </p:extLst>
          </p:nvPr>
        </p:nvGraphicFramePr>
        <p:xfrm>
          <a:off x="7044265" y="5313414"/>
          <a:ext cx="3996785" cy="490474"/>
        </p:xfrm>
        <a:graphic>
          <a:graphicData uri="http://schemas.openxmlformats.org/drawingml/2006/table">
            <a:tbl>
              <a:tblPr firstRow="1" bandRow="1">
                <a:tableStyleId>{9D7B26C5-4107-4FEC-AEDC-1716B250A1EF}</a:tableStyleId>
              </a:tblPr>
              <a:tblGrid>
                <a:gridCol w="995265">
                  <a:extLst>
                    <a:ext uri="{9D8B030D-6E8A-4147-A177-3AD203B41FA5}">
                      <a16:colId xmlns:a16="http://schemas.microsoft.com/office/drawing/2014/main" val="20000"/>
                    </a:ext>
                  </a:extLst>
                </a:gridCol>
                <a:gridCol w="868946">
                  <a:extLst>
                    <a:ext uri="{9D8B030D-6E8A-4147-A177-3AD203B41FA5}">
                      <a16:colId xmlns:a16="http://schemas.microsoft.com/office/drawing/2014/main" val="20002"/>
                    </a:ext>
                  </a:extLst>
                </a:gridCol>
                <a:gridCol w="985016">
                  <a:extLst>
                    <a:ext uri="{9D8B030D-6E8A-4147-A177-3AD203B41FA5}">
                      <a16:colId xmlns:a16="http://schemas.microsoft.com/office/drawing/2014/main" val="777352621"/>
                    </a:ext>
                  </a:extLst>
                </a:gridCol>
                <a:gridCol w="1147558">
                  <a:extLst>
                    <a:ext uri="{9D8B030D-6E8A-4147-A177-3AD203B41FA5}">
                      <a16:colId xmlns:a16="http://schemas.microsoft.com/office/drawing/2014/main" val="988835828"/>
                    </a:ext>
                  </a:extLst>
                </a:gridCol>
              </a:tblGrid>
              <a:tr h="261900">
                <a:tc>
                  <a:txBody>
                    <a:bodyPr/>
                    <a:lstStyle/>
                    <a:p>
                      <a:r>
                        <a:rPr lang="en-US" sz="900"/>
                        <a:t>Cost Summary</a:t>
                      </a:r>
                    </a:p>
                  </a:txBody>
                  <a:tcPr marT="45707" marB="45707"/>
                </a:tc>
                <a:tc>
                  <a:txBody>
                    <a:bodyPr/>
                    <a:lstStyle/>
                    <a:p>
                      <a:r>
                        <a:rPr lang="en-US" sz="900"/>
                        <a:t>Phase 1</a:t>
                      </a:r>
                    </a:p>
                  </a:txBody>
                  <a:tcPr marT="45707" marB="45707"/>
                </a:tc>
                <a:tc>
                  <a:txBody>
                    <a:bodyPr/>
                    <a:lstStyle/>
                    <a:p>
                      <a:r>
                        <a:rPr lang="en-US" sz="900"/>
                        <a:t>Phase 2</a:t>
                      </a:r>
                    </a:p>
                  </a:txBody>
                  <a:tcPr marT="45707" marB="45707"/>
                </a:tc>
                <a:tc>
                  <a:txBody>
                    <a:bodyPr/>
                    <a:lstStyle/>
                    <a:p>
                      <a:r>
                        <a:rPr lang="en-US" sz="900"/>
                        <a:t>Total</a:t>
                      </a:r>
                    </a:p>
                  </a:txBody>
                  <a:tcPr marT="45707" marB="45707"/>
                </a:tc>
                <a:extLst>
                  <a:ext uri="{0D108BD9-81ED-4DB2-BD59-A6C34878D82A}">
                    <a16:rowId xmlns:a16="http://schemas.microsoft.com/office/drawing/2014/main" val="10000"/>
                  </a:ext>
                </a:extLst>
              </a:tr>
              <a:tr h="163681">
                <a:tc>
                  <a:txBody>
                    <a:bodyPr/>
                    <a:lstStyle/>
                    <a:p>
                      <a:r>
                        <a:rPr lang="en-US" sz="900"/>
                        <a:t>Proposed</a:t>
                      </a:r>
                    </a:p>
                  </a:txBody>
                  <a:tcPr marT="45707" marB="45707"/>
                </a:tc>
                <a:tc>
                  <a:txBody>
                    <a:bodyPr/>
                    <a:lstStyle/>
                    <a:p>
                      <a:r>
                        <a:rPr lang="en-US" sz="900"/>
                        <a:t>$</a:t>
                      </a:r>
                    </a:p>
                  </a:txBody>
                  <a:tcPr marT="45707" marB="45707"/>
                </a:tc>
                <a:tc>
                  <a:txBody>
                    <a:bodyPr/>
                    <a:lstStyle/>
                    <a:p>
                      <a:r>
                        <a:rPr lang="en-US" sz="900"/>
                        <a:t>$</a:t>
                      </a:r>
                    </a:p>
                  </a:txBody>
                  <a:tcPr marT="45707" marB="45707"/>
                </a:tc>
                <a:tc>
                  <a:txBody>
                    <a:bodyPr/>
                    <a:lstStyle/>
                    <a:p>
                      <a:r>
                        <a:rPr lang="en-US" sz="900"/>
                        <a:t>$</a:t>
                      </a:r>
                    </a:p>
                  </a:txBody>
                  <a:tcPr marT="45707" marB="45707"/>
                </a:tc>
                <a:extLst>
                  <a:ext uri="{0D108BD9-81ED-4DB2-BD59-A6C34878D82A}">
                    <a16:rowId xmlns:a16="http://schemas.microsoft.com/office/drawing/2014/main" val="10001"/>
                  </a:ext>
                </a:extLst>
              </a:tr>
            </a:tbl>
          </a:graphicData>
        </a:graphic>
      </p:graphicFrame>
      <p:sp>
        <p:nvSpPr>
          <p:cNvPr id="10" name="Text Box 25">
            <a:extLst>
              <a:ext uri="{FF2B5EF4-FFF2-40B4-BE49-F238E27FC236}">
                <a16:creationId xmlns:a16="http://schemas.microsoft.com/office/drawing/2014/main" id="{7DA6511A-CD6C-D217-98C2-D86374E36D0F}"/>
              </a:ext>
            </a:extLst>
          </p:cNvPr>
          <p:cNvSpPr txBox="1">
            <a:spLocks noChangeArrowheads="1"/>
          </p:cNvSpPr>
          <p:nvPr/>
        </p:nvSpPr>
        <p:spPr bwMode="auto">
          <a:xfrm>
            <a:off x="525817" y="947327"/>
            <a:ext cx="5286549" cy="646331"/>
          </a:xfrm>
          <a:prstGeom prst="rect">
            <a:avLst/>
          </a:prstGeom>
          <a:noFill/>
          <a:ln w="9525">
            <a:noFill/>
            <a:miter lim="800000"/>
            <a:headEnd/>
            <a:tailEnd/>
          </a:ln>
        </p:spPr>
        <p:txBody>
          <a:bodyPr wrap="square" lIns="91440" tIns="45720" rIns="91440" bIns="45720" anchor="t">
            <a:spAutoFit/>
          </a:bodyPr>
          <a:lstStyle/>
          <a:p>
            <a:pPr marL="169863" indent="-169863" fontAlgn="base">
              <a:spcBef>
                <a:spcPct val="0"/>
              </a:spcBef>
              <a:defRPr/>
            </a:pPr>
            <a:r>
              <a:rPr lang="en-US" sz="1400">
                <a:solidFill>
                  <a:prstClr val="black"/>
                </a:solidFill>
                <a:latin typeface="+mj-lt"/>
                <a:cs typeface="Tahoma" pitchFamily="34" charset="0"/>
              </a:rPr>
              <a:t>Program Overview:</a:t>
            </a:r>
          </a:p>
          <a:p>
            <a:pPr fontAlgn="base">
              <a:spcBef>
                <a:spcPct val="0"/>
              </a:spcBef>
              <a:defRPr/>
            </a:pPr>
            <a:r>
              <a:rPr lang="en-US" sz="1100" i="1" dirty="0">
                <a:solidFill>
                  <a:prstClr val="black"/>
                </a:solidFill>
                <a:latin typeface="Real Text Pro"/>
              </a:rPr>
              <a:t>[</a:t>
            </a:r>
            <a:r>
              <a:rPr lang="en-US" sz="1100" i="1" dirty="0"/>
              <a:t>Explain how your approach directly addresses the program's key challenges and describe what makes your approach uniquely positioned to succeed.]</a:t>
            </a:r>
            <a:endParaRPr lang="en-US" sz="1100" i="1" dirty="0">
              <a:solidFill>
                <a:prstClr val="black"/>
              </a:solidFill>
              <a:latin typeface="+mj-lt"/>
            </a:endParaRPr>
          </a:p>
        </p:txBody>
      </p:sp>
      <p:sp>
        <p:nvSpPr>
          <p:cNvPr id="11" name="Text Box 25">
            <a:extLst>
              <a:ext uri="{FF2B5EF4-FFF2-40B4-BE49-F238E27FC236}">
                <a16:creationId xmlns:a16="http://schemas.microsoft.com/office/drawing/2014/main" id="{213583F7-62D0-A2E1-ABC3-9AA83587DE35}"/>
              </a:ext>
            </a:extLst>
          </p:cNvPr>
          <p:cNvSpPr txBox="1">
            <a:spLocks noChangeArrowheads="1"/>
          </p:cNvSpPr>
          <p:nvPr/>
        </p:nvSpPr>
        <p:spPr bwMode="auto">
          <a:xfrm>
            <a:off x="6375725" y="947327"/>
            <a:ext cx="5286549" cy="1508105"/>
          </a:xfrm>
          <a:prstGeom prst="rect">
            <a:avLst/>
          </a:prstGeom>
          <a:noFill/>
          <a:ln w="9525">
            <a:noFill/>
            <a:miter lim="800000"/>
            <a:headEnd/>
            <a:tailEnd/>
          </a:ln>
        </p:spPr>
        <p:txBody>
          <a:bodyPr wrap="square">
            <a:spAutoFit/>
          </a:bodyPr>
          <a:lstStyle/>
          <a:p>
            <a:pPr marL="169863" indent="-169863" fontAlgn="base">
              <a:spcBef>
                <a:spcPct val="0"/>
              </a:spcBef>
              <a:defRPr/>
            </a:pPr>
            <a:r>
              <a:rPr lang="en-US" sz="1400">
                <a:solidFill>
                  <a:prstClr val="black"/>
                </a:solidFill>
                <a:latin typeface="+mj-lt"/>
                <a:cs typeface="Tahoma" pitchFamily="34" charset="0"/>
              </a:rPr>
              <a:t>Summary of Proposal Details:</a:t>
            </a:r>
          </a:p>
          <a:p>
            <a:pPr marL="171450" indent="-171450" fontAlgn="base">
              <a:spcBef>
                <a:spcPct val="0"/>
              </a:spcBef>
              <a:buFont typeface="Arial" pitchFamily="34" charset="0"/>
              <a:buChar char="•"/>
              <a:defRPr/>
            </a:pPr>
            <a:r>
              <a:rPr lang="en-US" sz="1100">
                <a:solidFill>
                  <a:prstClr val="black"/>
                </a:solidFill>
                <a:latin typeface="+mj-lt"/>
              </a:rPr>
              <a:t>Team Lead</a:t>
            </a:r>
          </a:p>
          <a:p>
            <a:pPr marL="171450" indent="-171450" fontAlgn="base">
              <a:spcBef>
                <a:spcPct val="0"/>
              </a:spcBef>
              <a:buFont typeface="Arial" pitchFamily="34" charset="0"/>
              <a:buChar char="•"/>
              <a:defRPr/>
            </a:pPr>
            <a:r>
              <a:rPr lang="en-US" sz="1100">
                <a:solidFill>
                  <a:prstClr val="black"/>
                </a:solidFill>
                <a:latin typeface="+mj-lt"/>
              </a:rPr>
              <a:t>Team Composition</a:t>
            </a:r>
          </a:p>
          <a:p>
            <a:pPr marL="171450" indent="-171450" fontAlgn="base">
              <a:spcBef>
                <a:spcPct val="0"/>
              </a:spcBef>
              <a:buFont typeface="Arial" pitchFamily="34" charset="0"/>
              <a:buChar char="•"/>
              <a:defRPr/>
            </a:pPr>
            <a:r>
              <a:rPr lang="en-US" sz="1100">
                <a:solidFill>
                  <a:prstClr val="black"/>
                </a:solidFill>
                <a:latin typeface="+mj-lt"/>
              </a:rPr>
              <a:t>Focus Area(s)</a:t>
            </a:r>
          </a:p>
          <a:p>
            <a:pPr marL="171450" indent="-171450" fontAlgn="base">
              <a:spcBef>
                <a:spcPct val="0"/>
              </a:spcBef>
              <a:buFont typeface="Arial" pitchFamily="34" charset="0"/>
              <a:buChar char="•"/>
              <a:defRPr/>
            </a:pPr>
            <a:r>
              <a:rPr lang="en-US" sz="1100">
                <a:solidFill>
                  <a:prstClr val="black"/>
                </a:solidFill>
                <a:latin typeface="+mj-lt"/>
              </a:rPr>
              <a:t>Task Area(s)</a:t>
            </a:r>
          </a:p>
          <a:p>
            <a:pPr marL="171450" indent="-171450" fontAlgn="base">
              <a:spcBef>
                <a:spcPct val="0"/>
              </a:spcBef>
              <a:buFont typeface="Arial" pitchFamily="34" charset="0"/>
              <a:buChar char="•"/>
              <a:defRPr/>
            </a:pPr>
            <a:r>
              <a:rPr lang="en-US" sz="1100">
                <a:solidFill>
                  <a:prstClr val="black"/>
                </a:solidFill>
                <a:latin typeface="+mj-lt"/>
              </a:rPr>
              <a:t>Partnerships</a:t>
            </a:r>
          </a:p>
          <a:p>
            <a:pPr marL="171450" indent="-171450" fontAlgn="base">
              <a:spcBef>
                <a:spcPct val="0"/>
              </a:spcBef>
              <a:buFont typeface="Arial" pitchFamily="34" charset="0"/>
              <a:buChar char="•"/>
              <a:defRPr/>
            </a:pPr>
            <a:r>
              <a:rPr lang="en-US" sz="1100">
                <a:solidFill>
                  <a:prstClr val="black"/>
                </a:solidFill>
                <a:latin typeface="+mj-lt"/>
              </a:rPr>
              <a:t>TRL Level</a:t>
            </a:r>
          </a:p>
          <a:p>
            <a:pPr>
              <a:defRPr/>
            </a:pPr>
            <a:endParaRPr lang="en-US" sz="1200">
              <a:solidFill>
                <a:prstClr val="black"/>
              </a:solidFill>
              <a:latin typeface="+mj-lt"/>
            </a:endParaRPr>
          </a:p>
        </p:txBody>
      </p:sp>
      <p:sp>
        <p:nvSpPr>
          <p:cNvPr id="12" name="Text Box 25">
            <a:extLst>
              <a:ext uri="{FF2B5EF4-FFF2-40B4-BE49-F238E27FC236}">
                <a16:creationId xmlns:a16="http://schemas.microsoft.com/office/drawing/2014/main" id="{D8E0430E-7379-B1B2-9DF5-0BA939B55012}"/>
              </a:ext>
            </a:extLst>
          </p:cNvPr>
          <p:cNvSpPr txBox="1">
            <a:spLocks noChangeArrowheads="1"/>
          </p:cNvSpPr>
          <p:nvPr/>
        </p:nvSpPr>
        <p:spPr bwMode="auto">
          <a:xfrm>
            <a:off x="6408093" y="3576917"/>
            <a:ext cx="5286549" cy="1354217"/>
          </a:xfrm>
          <a:prstGeom prst="rect">
            <a:avLst/>
          </a:prstGeom>
          <a:noFill/>
          <a:ln w="9525">
            <a:noFill/>
            <a:miter lim="800000"/>
            <a:headEnd/>
            <a:tailEnd/>
          </a:ln>
        </p:spPr>
        <p:txBody>
          <a:bodyPr wrap="square" lIns="91440" tIns="45720" rIns="91440" bIns="45720" anchor="t">
            <a:spAutoFit/>
          </a:bodyPr>
          <a:lstStyle/>
          <a:p>
            <a:pPr marL="169545" indent="-169545" fontAlgn="base">
              <a:spcBef>
                <a:spcPct val="0"/>
              </a:spcBef>
              <a:defRPr/>
            </a:pPr>
            <a:r>
              <a:rPr lang="en-US" sz="1400" dirty="0">
                <a:solidFill>
                  <a:prstClr val="black"/>
                </a:solidFill>
                <a:latin typeface="+mj-lt"/>
                <a:cs typeface="Tahoma"/>
              </a:rPr>
              <a:t>Budget Chart:</a:t>
            </a:r>
            <a:endParaRPr lang="en-US" dirty="0">
              <a:solidFill>
                <a:prstClr val="black"/>
              </a:solidFill>
              <a:cs typeface="Tahoma"/>
            </a:endParaRPr>
          </a:p>
          <a:p>
            <a:pPr marL="0" marR="0" lvl="0" indent="0" algn="l" defTabSz="914400" rtl="0" eaLnBrk="0" fontAlgn="base" latinLnBrk="0" hangingPunct="0">
              <a:lnSpc>
                <a:spcPct val="100000"/>
              </a:lnSpc>
              <a:spcBef>
                <a:spcPct val="0"/>
              </a:spcBef>
              <a:spcAft>
                <a:spcPct val="0"/>
              </a:spcAft>
              <a:buClrTx/>
              <a:buSzTx/>
              <a:tabLst/>
            </a:pPr>
            <a:r>
              <a:rPr kumimoji="0" lang="en-US" altLang="en-US" sz="1100" b="0" i="1" u="none" strike="noStrike" cap="none" normalizeH="0" baseline="0" dirty="0">
                <a:ln>
                  <a:noFill/>
                </a:ln>
                <a:effectLst/>
                <a:latin typeface="Real Text Pro"/>
              </a:rPr>
              <a:t>[Total proposed costs summarized (Direct Labor, Equipment, Travel, Other Direct Costs, Contractual, Subawards)]</a:t>
            </a:r>
            <a:endParaRPr lang="en-US" altLang="en-US" sz="1100" b="0" i="1" u="none" strike="noStrike" cap="none" normalizeH="0" baseline="0" dirty="0">
              <a:ln>
                <a:noFill/>
              </a:ln>
              <a:effectLst/>
              <a:latin typeface="Real Text Pro"/>
            </a:endParaRPr>
          </a:p>
          <a:p>
            <a:pPr marL="0" marR="0" lvl="0" indent="0" algn="l" defTabSz="914400" rtl="0" eaLnBrk="0" fontAlgn="base" latinLnBrk="0" hangingPunct="0">
              <a:lnSpc>
                <a:spcPct val="100000"/>
              </a:lnSpc>
              <a:spcBef>
                <a:spcPct val="0"/>
              </a:spcBef>
              <a:spcAft>
                <a:spcPct val="0"/>
              </a:spcAft>
              <a:buClrTx/>
              <a:buSzTx/>
              <a:tabLst/>
            </a:pPr>
            <a:r>
              <a:rPr kumimoji="0" lang="en-US" altLang="en-US" sz="1100" b="0" i="1" u="none" strike="noStrike" cap="none" normalizeH="0" baseline="0" dirty="0">
                <a:ln>
                  <a:noFill/>
                </a:ln>
                <a:effectLst/>
                <a:latin typeface="Real Text Pro"/>
              </a:rPr>
              <a:t>[Brief justification explaining how resources are allocated efficiently to address technical challenges and achieve project milestones.] </a:t>
            </a:r>
            <a:endParaRPr lang="en-US" altLang="en-US" sz="1100" b="0" i="1" u="none" strike="noStrike" cap="none" normalizeH="0" baseline="0" dirty="0">
              <a:ln>
                <a:noFill/>
              </a:ln>
              <a:effectLst/>
              <a:latin typeface="Real Text Pro"/>
            </a:endParaRPr>
          </a:p>
          <a:p>
            <a:pPr marL="171450" indent="-171450" fontAlgn="base">
              <a:spcBef>
                <a:spcPct val="0"/>
              </a:spcBef>
              <a:buFont typeface="Arial" pitchFamily="34" charset="0"/>
              <a:buChar char="•"/>
              <a:defRPr/>
            </a:pPr>
            <a:endParaRPr lang="en-US" sz="1200">
              <a:solidFill>
                <a:prstClr val="black"/>
              </a:solidFill>
              <a:latin typeface="+mj-lt"/>
            </a:endParaRPr>
          </a:p>
          <a:p>
            <a:pPr>
              <a:defRPr/>
            </a:pPr>
            <a:endParaRPr lang="en-US" sz="1200">
              <a:solidFill>
                <a:prstClr val="black"/>
              </a:solidFill>
              <a:latin typeface="+mj-lt"/>
            </a:endParaRPr>
          </a:p>
        </p:txBody>
      </p:sp>
      <p:sp>
        <p:nvSpPr>
          <p:cNvPr id="14" name="Text Box 25">
            <a:extLst>
              <a:ext uri="{FF2B5EF4-FFF2-40B4-BE49-F238E27FC236}">
                <a16:creationId xmlns:a16="http://schemas.microsoft.com/office/drawing/2014/main" id="{13E63FA7-BCC5-7DBB-7406-D567154EBABA}"/>
              </a:ext>
            </a:extLst>
          </p:cNvPr>
          <p:cNvSpPr txBox="1">
            <a:spLocks noChangeArrowheads="1"/>
          </p:cNvSpPr>
          <p:nvPr/>
        </p:nvSpPr>
        <p:spPr bwMode="auto">
          <a:xfrm>
            <a:off x="529876" y="3601193"/>
            <a:ext cx="5286549" cy="677108"/>
          </a:xfrm>
          <a:prstGeom prst="rect">
            <a:avLst/>
          </a:prstGeom>
          <a:noFill/>
          <a:ln w="9525">
            <a:noFill/>
            <a:miter lim="800000"/>
            <a:headEnd/>
            <a:tailEnd/>
          </a:ln>
        </p:spPr>
        <p:txBody>
          <a:bodyPr wrap="square" lIns="91440" tIns="45720" rIns="91440" bIns="45720" anchor="t">
            <a:spAutoFit/>
          </a:bodyPr>
          <a:lstStyle/>
          <a:p>
            <a:pPr marL="169545" indent="-169545" fontAlgn="base">
              <a:spcBef>
                <a:spcPct val="0"/>
              </a:spcBef>
              <a:defRPr/>
            </a:pPr>
            <a:r>
              <a:rPr lang="en-US" sz="1400" dirty="0">
                <a:solidFill>
                  <a:prstClr val="black"/>
                </a:solidFill>
                <a:latin typeface="+mj-lt"/>
                <a:cs typeface="Tahoma"/>
              </a:rPr>
              <a:t>Representative Graphic:</a:t>
            </a:r>
            <a:endParaRPr lang="en-US" dirty="0">
              <a:solidFill>
                <a:prstClr val="black"/>
              </a:solidFill>
              <a:cs typeface="Tahoma"/>
            </a:endParaRPr>
          </a:p>
          <a:p>
            <a:pPr marL="169545" indent="-169545" fontAlgn="base">
              <a:spcBef>
                <a:spcPct val="0"/>
              </a:spcBef>
              <a:defRPr/>
            </a:pPr>
            <a:r>
              <a:rPr lang="en-US" sz="1100" i="1" dirty="0">
                <a:solidFill>
                  <a:prstClr val="black"/>
                </a:solidFill>
                <a:latin typeface="+mj-lt"/>
                <a:cs typeface="Tahoma"/>
              </a:rPr>
              <a:t>[OV1 image, graphic, or visual relevant to the proposed project.] </a:t>
            </a:r>
          </a:p>
          <a:p>
            <a:pPr>
              <a:defRPr/>
            </a:pPr>
            <a:endParaRPr lang="en-US" sz="1200">
              <a:solidFill>
                <a:prstClr val="black"/>
              </a:solidFill>
              <a:latin typeface="+mj-lt"/>
            </a:endParaRPr>
          </a:p>
        </p:txBody>
      </p:sp>
      <p:sp>
        <p:nvSpPr>
          <p:cNvPr id="15" name="TextBox 14">
            <a:extLst>
              <a:ext uri="{FF2B5EF4-FFF2-40B4-BE49-F238E27FC236}">
                <a16:creationId xmlns:a16="http://schemas.microsoft.com/office/drawing/2014/main" id="{604C5F53-EF86-46A1-C954-18C941B2D528}"/>
              </a:ext>
            </a:extLst>
          </p:cNvPr>
          <p:cNvSpPr txBox="1"/>
          <p:nvPr/>
        </p:nvSpPr>
        <p:spPr>
          <a:xfrm>
            <a:off x="9312308" y="294730"/>
            <a:ext cx="2535050" cy="307777"/>
          </a:xfrm>
          <a:prstGeom prst="rect">
            <a:avLst/>
          </a:prstGeom>
          <a:solidFill>
            <a:srgbClr val="0A3060"/>
          </a:solidFill>
        </p:spPr>
        <p:txBody>
          <a:bodyPr wrap="square" rtlCol="0">
            <a:spAutoFit/>
          </a:bodyPr>
          <a:lstStyle/>
          <a:p>
            <a:pPr algn="ctr"/>
            <a:r>
              <a:rPr lang="en-US" sz="1400" b="1" err="1">
                <a:solidFill>
                  <a:schemeClr val="bg1"/>
                </a:solidFill>
              </a:rPr>
              <a:t>OpenWater</a:t>
            </a:r>
            <a:r>
              <a:rPr lang="en-US" sz="1400" b="1">
                <a:solidFill>
                  <a:schemeClr val="bg1"/>
                </a:solidFill>
              </a:rPr>
              <a:t> #</a:t>
            </a:r>
          </a:p>
        </p:txBody>
      </p:sp>
      <p:sp>
        <p:nvSpPr>
          <p:cNvPr id="18" name="TextBox 17">
            <a:extLst>
              <a:ext uri="{FF2B5EF4-FFF2-40B4-BE49-F238E27FC236}">
                <a16:creationId xmlns:a16="http://schemas.microsoft.com/office/drawing/2014/main" id="{237404B1-A06D-7415-BF4A-6C25792A395F}"/>
              </a:ext>
            </a:extLst>
          </p:cNvPr>
          <p:cNvSpPr txBox="1"/>
          <p:nvPr/>
        </p:nvSpPr>
        <p:spPr>
          <a:xfrm>
            <a:off x="361621" y="137393"/>
            <a:ext cx="8264488" cy="646331"/>
          </a:xfrm>
          <a:prstGeom prst="rect">
            <a:avLst/>
          </a:prstGeom>
          <a:noFill/>
        </p:spPr>
        <p:txBody>
          <a:bodyPr wrap="square" lIns="91440" tIns="45720" rIns="91440" bIns="45720" rtlCol="0" anchor="t">
            <a:spAutoFit/>
          </a:bodyPr>
          <a:lstStyle/>
          <a:p>
            <a:pPr>
              <a:defRPr/>
            </a:pPr>
            <a:r>
              <a:rPr lang="en-US" sz="1200" dirty="0">
                <a:solidFill>
                  <a:schemeClr val="tx2"/>
                </a:solidFill>
              </a:rPr>
              <a:t>PI: [</a:t>
            </a:r>
            <a:r>
              <a:rPr lang="en-US" sz="1200" dirty="0" err="1">
                <a:solidFill>
                  <a:schemeClr val="tx2"/>
                </a:solidFill>
              </a:rPr>
              <a:t>Firstname</a:t>
            </a:r>
            <a:r>
              <a:rPr lang="en-US" sz="1200" dirty="0">
                <a:solidFill>
                  <a:schemeClr val="tx2"/>
                </a:solidFill>
              </a:rPr>
              <a:t> Lastname / Title / Organization] </a:t>
            </a:r>
          </a:p>
          <a:p>
            <a:pPr>
              <a:defRPr/>
            </a:pPr>
            <a:r>
              <a:rPr lang="en-US" sz="1200">
                <a:solidFill>
                  <a:schemeClr val="tx2"/>
                </a:solidFill>
              </a:rPr>
              <a:t>Subcontractor(s) Co-PI: [</a:t>
            </a:r>
            <a:r>
              <a:rPr lang="en-US" sz="1200" err="1">
                <a:solidFill>
                  <a:schemeClr val="tx2"/>
                </a:solidFill>
              </a:rPr>
              <a:t>Firstname</a:t>
            </a:r>
            <a:r>
              <a:rPr lang="en-US" sz="1200">
                <a:solidFill>
                  <a:schemeClr val="tx2"/>
                </a:solidFill>
              </a:rPr>
              <a:t> Lastname / Title / Organization] </a:t>
            </a:r>
          </a:p>
          <a:p>
            <a:pPr>
              <a:defRPr/>
            </a:pPr>
            <a:r>
              <a:rPr lang="en-US" sz="1200" dirty="0">
                <a:solidFill>
                  <a:schemeClr val="tx2"/>
                </a:solidFill>
              </a:rPr>
              <a:t>Title: [Insert Proposal Title</a:t>
            </a:r>
            <a:r>
              <a:rPr lang="en-US" sz="1200" dirty="0">
                <a:solidFill>
                  <a:prstClr val="black"/>
                </a:solidFill>
              </a:rPr>
              <a:t>]</a:t>
            </a:r>
            <a:endParaRPr lang="en-US" sz="1200" strike="sngStrike">
              <a:solidFill>
                <a:prstClr val="black"/>
              </a:solidFill>
            </a:endParaRPr>
          </a:p>
        </p:txBody>
      </p:sp>
      <p:sp>
        <p:nvSpPr>
          <p:cNvPr id="19" name="Slide Number Placeholder 4">
            <a:extLst>
              <a:ext uri="{FF2B5EF4-FFF2-40B4-BE49-F238E27FC236}">
                <a16:creationId xmlns:a16="http://schemas.microsoft.com/office/drawing/2014/main" id="{0372C729-C326-27EC-EDA7-854E40BC245F}"/>
              </a:ext>
            </a:extLst>
          </p:cNvPr>
          <p:cNvSpPr>
            <a:spLocks noGrp="1"/>
          </p:cNvSpPr>
          <p:nvPr>
            <p:ph type="sldNum" sz="quarter" idx="12"/>
          </p:nvPr>
        </p:nvSpPr>
        <p:spPr>
          <a:xfrm>
            <a:off x="11562574" y="6234576"/>
            <a:ext cx="283464" cy="283464"/>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FF7D9A68-EC15-4B1F-850C-8A6CCAFA90D8}" type="slidenum">
              <a:rPr kumimoji="0" lang="en-US" sz="1180" b="1" i="0" u="none" strike="noStrike" kern="1200" cap="none" spc="0" normalizeH="0" baseline="0" noProof="0" smtClean="0">
                <a:ln>
                  <a:noFill/>
                </a:ln>
                <a:solidFill>
                  <a:srgbClr val="000000">
                    <a:tint val="82000"/>
                  </a:srgbClr>
                </a:solidFill>
                <a:effectLst/>
                <a:uLnTx/>
                <a:uFillTx/>
                <a:latin typeface="Real Head Pro" panose="020B0504020204020204" pitchFamily="34" charset="0"/>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a:t>
            </a:fld>
            <a:endParaRPr kumimoji="0" lang="en-US" sz="1180" b="1" i="0" u="none" strike="noStrike" kern="1200" cap="none" spc="0" normalizeH="0" baseline="0" noProof="0">
              <a:ln>
                <a:noFill/>
              </a:ln>
              <a:solidFill>
                <a:srgbClr val="000000">
                  <a:tint val="82000"/>
                </a:srgbClr>
              </a:solidFill>
              <a:effectLst/>
              <a:uLnTx/>
              <a:uFillTx/>
              <a:latin typeface="Real Head Pro" panose="020B0504020204020204" pitchFamily="34" charset="0"/>
              <a:ea typeface="+mn-ea"/>
              <a:cs typeface="+mn-cs"/>
            </a:endParaRPr>
          </a:p>
        </p:txBody>
      </p:sp>
      <p:sp>
        <p:nvSpPr>
          <p:cNvPr id="20" name="TextBox 19">
            <a:extLst>
              <a:ext uri="{FF2B5EF4-FFF2-40B4-BE49-F238E27FC236}">
                <a16:creationId xmlns:a16="http://schemas.microsoft.com/office/drawing/2014/main" id="{14EE3185-C266-E8D2-B483-95490688B334}"/>
              </a:ext>
            </a:extLst>
          </p:cNvPr>
          <p:cNvSpPr txBox="1"/>
          <p:nvPr/>
        </p:nvSpPr>
        <p:spPr>
          <a:xfrm>
            <a:off x="4649931" y="6382046"/>
            <a:ext cx="2892138"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srgbClr val="0A3061"/>
                </a:solidFill>
                <a:effectLst/>
                <a:uLnTx/>
                <a:uFillTx/>
                <a:latin typeface="Work Sans" pitchFamily="2" charset="0"/>
                <a:ea typeface="Calibri" panose="020F0502020204030204" pitchFamily="34" charset="0"/>
                <a:cs typeface="Calibri" panose="020F0502020204030204" pitchFamily="34" charset="0"/>
              </a:rPr>
              <a:t>© 2025 </a:t>
            </a:r>
            <a:r>
              <a:rPr kumimoji="0" lang="en-US" sz="1050" b="0" i="0" u="none" strike="noStrike" kern="1200" cap="none" spc="0" normalizeH="0" baseline="0" noProof="0" err="1">
                <a:ln>
                  <a:noFill/>
                </a:ln>
                <a:solidFill>
                  <a:srgbClr val="0A3061"/>
                </a:solidFill>
                <a:effectLst/>
                <a:uLnTx/>
                <a:uFillTx/>
                <a:latin typeface="Work Sans" pitchFamily="2" charset="0"/>
                <a:ea typeface="Calibri" panose="020F0502020204030204" pitchFamily="34" charset="0"/>
                <a:cs typeface="Calibri" panose="020F0502020204030204" pitchFamily="34" charset="0"/>
              </a:rPr>
              <a:t>Natcast</a:t>
            </a:r>
            <a:r>
              <a:rPr kumimoji="0" lang="en-US" sz="1050" b="0" i="0" u="none" strike="noStrike" kern="1200" cap="none" spc="0" normalizeH="0" baseline="0" noProof="0">
                <a:ln>
                  <a:noFill/>
                </a:ln>
                <a:solidFill>
                  <a:srgbClr val="0A3061"/>
                </a:solidFill>
                <a:effectLst/>
                <a:uLnTx/>
                <a:uFillTx/>
                <a:latin typeface="Work Sans" pitchFamily="2" charset="0"/>
                <a:ea typeface="Calibri" panose="020F0502020204030204" pitchFamily="34" charset="0"/>
                <a:cs typeface="Calibri" panose="020F0502020204030204" pitchFamily="34" charset="0"/>
              </a:rPr>
              <a:t>, Inc. All Rights Reserved.</a:t>
            </a:r>
            <a:endParaRPr kumimoji="0" lang="en-US" sz="1050" b="0" i="0" u="none" strike="noStrike" kern="1200" cap="none" spc="0" normalizeH="0" baseline="0" noProof="0">
              <a:ln>
                <a:noFill/>
              </a:ln>
              <a:solidFill>
                <a:srgbClr val="0A3061"/>
              </a:solidFill>
              <a:effectLst/>
              <a:uLnTx/>
              <a:uFillTx/>
              <a:latin typeface="Work Sans"/>
              <a:ea typeface="+mn-ea"/>
              <a:cs typeface="+mn-cs"/>
            </a:endParaRPr>
          </a:p>
        </p:txBody>
      </p:sp>
    </p:spTree>
    <p:extLst>
      <p:ext uri="{BB962C8B-B14F-4D97-AF65-F5344CB8AC3E}">
        <p14:creationId xmlns:p14="http://schemas.microsoft.com/office/powerpoint/2010/main" val="34513285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5_Office Theme">
  <a:themeElements>
    <a:clrScheme name="BeeKeepers - Steven">
      <a:dk1>
        <a:srgbClr val="000000"/>
      </a:dk1>
      <a:lt1>
        <a:sysClr val="window" lastClr="FFFFFF"/>
      </a:lt1>
      <a:dk2>
        <a:srgbClr val="004669"/>
      </a:dk2>
      <a:lt2>
        <a:srgbClr val="FBFBEF"/>
      </a:lt2>
      <a:accent1>
        <a:srgbClr val="032A3D"/>
      </a:accent1>
      <a:accent2>
        <a:srgbClr val="97A4AF"/>
      </a:accent2>
      <a:accent3>
        <a:srgbClr val="00BFFF"/>
      </a:accent3>
      <a:accent4>
        <a:srgbClr val="FFD700"/>
      </a:accent4>
      <a:accent5>
        <a:srgbClr val="FBFBEF"/>
      </a:accent5>
      <a:accent6>
        <a:srgbClr val="004669"/>
      </a:accent6>
      <a:hlink>
        <a:srgbClr val="004669"/>
      </a:hlink>
      <a:folHlink>
        <a:srgbClr val="004669"/>
      </a:folHlink>
    </a:clrScheme>
    <a:fontScheme name="BeeKeepers - Steven">
      <a:majorFont>
        <a:latin typeface="Real Head Pro Extrabold"/>
        <a:ea typeface=""/>
        <a:cs typeface=""/>
      </a:majorFont>
      <a:minorFont>
        <a:latin typeface="Real Text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lgn="l">
          <a:defRPr sz="1580" b="1" dirty="0" smtClean="0">
            <a:solidFill>
              <a:srgbClr val="FBFBEF"/>
            </a:solidFill>
            <a:latin typeface="Real Head Pro Extrabold"/>
            <a:cs typeface="Real Head Pro Extrabold"/>
          </a:defRPr>
        </a:defPPr>
      </a:lstStyle>
    </a:tx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A949E0504270A4287E65321B2C726FA" ma:contentTypeVersion="13" ma:contentTypeDescription="Create a new document." ma:contentTypeScope="" ma:versionID="74006cbc252310381697535cc994d062">
  <xsd:schema xmlns:xsd="http://www.w3.org/2001/XMLSchema" xmlns:xs="http://www.w3.org/2001/XMLSchema" xmlns:p="http://schemas.microsoft.com/office/2006/metadata/properties" xmlns:ns2="c4ddfb7b-28fe-4ad7-8e5d-9582244e85b5" xmlns:ns3="21f30067-abae-4fff-a755-49e63b2347e2" targetNamespace="http://schemas.microsoft.com/office/2006/metadata/properties" ma:root="true" ma:fieldsID="8a096c77655b11bafbb5bcf641fe0ef8" ns2:_="" ns3:_="">
    <xsd:import namespace="c4ddfb7b-28fe-4ad7-8e5d-9582244e85b5"/>
    <xsd:import namespace="21f30067-abae-4fff-a755-49e63b2347e2"/>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4ddfb7b-28fe-4ad7-8e5d-9582244e85b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ef4dfdb4-804b-4b69-945d-ec9b9b5adb21"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Location" ma:index="19" nillable="true" ma:displayName="Location" ma:indexed="true"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1f30067-abae-4fff-a755-49e63b2347e2"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23256d97-6e51-4721-bf2b-602a784fad9d}" ma:internalName="TaxCatchAll" ma:showField="CatchAllData" ma:web="21f30067-abae-4fff-a755-49e63b2347e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c4ddfb7b-28fe-4ad7-8e5d-9582244e85b5">
      <Terms xmlns="http://schemas.microsoft.com/office/infopath/2007/PartnerControls"/>
    </lcf76f155ced4ddcb4097134ff3c332f>
    <TaxCatchAll xmlns="21f30067-abae-4fff-a755-49e63b2347e2" xsi:nil="true"/>
  </documentManagement>
</p:properties>
</file>

<file path=customXml/itemProps1.xml><?xml version="1.0" encoding="utf-8"?>
<ds:datastoreItem xmlns:ds="http://schemas.openxmlformats.org/officeDocument/2006/customXml" ds:itemID="{11A208C6-B22F-4946-A56B-9FC63FB62BAF}"/>
</file>

<file path=customXml/itemProps2.xml><?xml version="1.0" encoding="utf-8"?>
<ds:datastoreItem xmlns:ds="http://schemas.openxmlformats.org/officeDocument/2006/customXml" ds:itemID="{7949A77D-7CD7-4F6C-8350-A197CAA014EF}">
  <ds:schemaRefs>
    <ds:schemaRef ds:uri="http://schemas.microsoft.com/sharepoint/v3/contenttype/forms"/>
  </ds:schemaRefs>
</ds:datastoreItem>
</file>

<file path=customXml/itemProps3.xml><?xml version="1.0" encoding="utf-8"?>
<ds:datastoreItem xmlns:ds="http://schemas.openxmlformats.org/officeDocument/2006/customXml" ds:itemID="{97AEE278-2BD8-4118-9C9D-4BDACF5BD073}">
  <ds:schemaRefs>
    <ds:schemaRef ds:uri="e162603e-6f79-4849-ba8f-a7d9bba8fcbf"/>
    <ds:schemaRef ds:uri="fd625cc0-1f98-4cc9-b766-4ca064ae502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Template>
  <Application>Microsoft Office PowerPoint</Application>
  <PresentationFormat>Widescreen</PresentationFormat>
  <Slides>2</Slides>
  <Notes>2</Notes>
  <HiddenSlides>0</HiddenSlides>
  <ScaleCrop>false</ScaleCrop>
  <HeadingPairs>
    <vt:vector size="4" baseType="variant">
      <vt:variant>
        <vt:lpstr>Theme</vt:lpstr>
      </vt:variant>
      <vt:variant>
        <vt:i4>2</vt:i4>
      </vt:variant>
      <vt:variant>
        <vt:lpstr>Slide Titles</vt:lpstr>
      </vt:variant>
      <vt:variant>
        <vt:i4>2</vt:i4>
      </vt:variant>
    </vt:vector>
  </HeadingPairs>
  <TitlesOfParts>
    <vt:vector size="4" baseType="lpstr">
      <vt:lpstr>Office Theme</vt:lpstr>
      <vt:lpstr>5_Office Theme</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Isabel Boona</dc:creator>
  <cp:revision>7</cp:revision>
  <dcterms:created xsi:type="dcterms:W3CDTF">2025-02-20T21:49:39Z</dcterms:created>
  <dcterms:modified xsi:type="dcterms:W3CDTF">2025-04-02T17:57: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c0bc5ab4-7047-44c3-abf0-39339a2adedf_Enabled">
    <vt:lpwstr>true</vt:lpwstr>
  </property>
  <property fmtid="{D5CDD505-2E9C-101B-9397-08002B2CF9AE}" pid="3" name="MSIP_Label_c0bc5ab4-7047-44c3-abf0-39339a2adedf_SetDate">
    <vt:lpwstr>2025-02-22T02:32:10Z</vt:lpwstr>
  </property>
  <property fmtid="{D5CDD505-2E9C-101B-9397-08002B2CF9AE}" pid="4" name="MSIP_Label_c0bc5ab4-7047-44c3-abf0-39339a2adedf_Method">
    <vt:lpwstr>Standard</vt:lpwstr>
  </property>
  <property fmtid="{D5CDD505-2E9C-101B-9397-08002B2CF9AE}" pid="5" name="MSIP_Label_c0bc5ab4-7047-44c3-abf0-39339a2adedf_Name">
    <vt:lpwstr>Medium Sensitivity</vt:lpwstr>
  </property>
  <property fmtid="{D5CDD505-2E9C-101B-9397-08002B2CF9AE}" pid="6" name="MSIP_Label_c0bc5ab4-7047-44c3-abf0-39339a2adedf_SiteId">
    <vt:lpwstr>dabca8ef-5a5f-4128-8834-ddd4693375ef</vt:lpwstr>
  </property>
  <property fmtid="{D5CDD505-2E9C-101B-9397-08002B2CF9AE}" pid="7" name="MSIP_Label_c0bc5ab4-7047-44c3-abf0-39339a2adedf_ActionId">
    <vt:lpwstr>f7d4c5c3-f9fa-44ab-ac2c-43a7b38dcedd</vt:lpwstr>
  </property>
  <property fmtid="{D5CDD505-2E9C-101B-9397-08002B2CF9AE}" pid="8" name="MSIP_Label_c0bc5ab4-7047-44c3-abf0-39339a2adedf_ContentBits">
    <vt:lpwstr>0</vt:lpwstr>
  </property>
  <property fmtid="{D5CDD505-2E9C-101B-9397-08002B2CF9AE}" pid="9" name="MSIP_Label_c0bc5ab4-7047-44c3-abf0-39339a2adedf_Tag">
    <vt:lpwstr>10, 3, 0, 1</vt:lpwstr>
  </property>
  <property fmtid="{D5CDD505-2E9C-101B-9397-08002B2CF9AE}" pid="10" name="ContentTypeId">
    <vt:lpwstr>0x0101005A949E0504270A4287E65321B2C726FA</vt:lpwstr>
  </property>
  <property fmtid="{D5CDD505-2E9C-101B-9397-08002B2CF9AE}" pid="11" name="MediaServiceImageTags">
    <vt:lpwstr/>
  </property>
  <property fmtid="{D5CDD505-2E9C-101B-9397-08002B2CF9AE}" pid="12" name="Order">
    <vt:r8>502300</vt:r8>
  </property>
  <property fmtid="{D5CDD505-2E9C-101B-9397-08002B2CF9AE}" pid="13" name="xd_Signature">
    <vt:bool>false</vt:bool>
  </property>
  <property fmtid="{D5CDD505-2E9C-101B-9397-08002B2CF9AE}" pid="14" name="xd_ProgID">
    <vt:lpwstr/>
  </property>
  <property fmtid="{D5CDD505-2E9C-101B-9397-08002B2CF9AE}" pid="15" name="_SourceUrl">
    <vt:lpwstr/>
  </property>
  <property fmtid="{D5CDD505-2E9C-101B-9397-08002B2CF9AE}" pid="16" name="_SharedFileIndex">
    <vt:lpwstr/>
  </property>
  <property fmtid="{D5CDD505-2E9C-101B-9397-08002B2CF9AE}" pid="17" name="ComplianceAssetId">
    <vt:lpwstr/>
  </property>
  <property fmtid="{D5CDD505-2E9C-101B-9397-08002B2CF9AE}" pid="18" name="TemplateUrl">
    <vt:lpwstr/>
  </property>
  <property fmtid="{D5CDD505-2E9C-101B-9397-08002B2CF9AE}" pid="19" name="_ExtendedDescription">
    <vt:lpwstr/>
  </property>
  <property fmtid="{D5CDD505-2E9C-101B-9397-08002B2CF9AE}" pid="20" name="TriggerFlowInfo">
    <vt:lpwstr/>
  </property>
</Properties>
</file>